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85" r:id="rId1"/>
  </p:sldMasterIdLst>
  <p:notesMasterIdLst>
    <p:notesMasterId r:id="rId4"/>
  </p:notesMasterIdLst>
  <p:handoutMasterIdLst>
    <p:handoutMasterId r:id="rId5"/>
  </p:handoutMasterIdLst>
  <p:sldIdLst>
    <p:sldId id="267" r:id="rId2"/>
    <p:sldId id="281" r:id="rId3"/>
  </p:sldIdLst>
  <p:sldSz cx="12192000" cy="6858000"/>
  <p:notesSz cx="6794500" cy="9931400"/>
  <p:custDataLst>
    <p:tags r:id="rId6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09" userDrawn="1">
          <p15:clr>
            <a:srgbClr val="A4A3A4"/>
          </p15:clr>
        </p15:guide>
        <p15:guide id="2" orient="horz" pos="4020" userDrawn="1">
          <p15:clr>
            <a:srgbClr val="A4A3A4"/>
          </p15:clr>
        </p15:guide>
        <p15:guide id="3" pos="7525" userDrawn="1">
          <p15:clr>
            <a:srgbClr val="A4A3A4"/>
          </p15:clr>
        </p15:guide>
        <p15:guide id="4" pos="4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87" userDrawn="1">
          <p15:clr>
            <a:srgbClr val="A4A3A4"/>
          </p15:clr>
        </p15:guide>
        <p15:guide id="2" pos="3977" userDrawn="1">
          <p15:clr>
            <a:srgbClr val="A4A3A4"/>
          </p15:clr>
        </p15:guide>
        <p15:guide id="3" pos="30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9"/>
    <a:srgbClr val="CDACE6"/>
    <a:srgbClr val="B3CA2C"/>
    <a:srgbClr val="646260"/>
    <a:srgbClr val="336483"/>
    <a:srgbClr val="BCD232"/>
    <a:srgbClr val="080808"/>
    <a:srgbClr val="393836"/>
    <a:srgbClr val="9FBC36"/>
    <a:srgbClr val="449D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5719D3-3B30-4777-85FE-B7C8F64CE137}" v="2612" dt="2022-01-25T09:25:19.831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6370" autoAdjust="0"/>
  </p:normalViewPr>
  <p:slideViewPr>
    <p:cSldViewPr snapToGrid="0" showGuides="1">
      <p:cViewPr varScale="1">
        <p:scale>
          <a:sx n="143" d="100"/>
          <a:sy n="143" d="100"/>
        </p:scale>
        <p:origin x="120" y="552"/>
      </p:cViewPr>
      <p:guideLst>
        <p:guide orient="horz" pos="709"/>
        <p:guide orient="horz" pos="4020"/>
        <p:guide pos="7525"/>
        <p:guide pos="4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3" d="100"/>
          <a:sy n="113" d="100"/>
        </p:scale>
        <p:origin x="4684" y="100"/>
      </p:cViewPr>
      <p:guideLst>
        <p:guide orient="horz" pos="3287"/>
        <p:guide pos="3977"/>
        <p:guide pos="30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umann, Werner" userId="2485b821-2188-41b3-b855-df6ae867ad2e" providerId="ADAL" clId="{DD5719D3-3B30-4777-85FE-B7C8F64CE137}"/>
    <pc:docChg chg="undo custSel modSld">
      <pc:chgData name="Baumann, Werner" userId="2485b821-2188-41b3-b855-df6ae867ad2e" providerId="ADAL" clId="{DD5719D3-3B30-4777-85FE-B7C8F64CE137}" dt="2022-01-25T09:25:09.201" v="1935" actId="20577"/>
      <pc:docMkLst>
        <pc:docMk/>
      </pc:docMkLst>
      <pc:sldChg chg="addSp delSp modSp mod">
        <pc:chgData name="Baumann, Werner" userId="2485b821-2188-41b3-b855-df6ae867ad2e" providerId="ADAL" clId="{DD5719D3-3B30-4777-85FE-B7C8F64CE137}" dt="2022-01-25T09:25:09.201" v="1935" actId="20577"/>
        <pc:sldMkLst>
          <pc:docMk/>
          <pc:sldMk cId="399732829" sldId="281"/>
        </pc:sldMkLst>
        <pc:spChg chg="mod ord">
          <ac:chgData name="Baumann, Werner" userId="2485b821-2188-41b3-b855-df6ae867ad2e" providerId="ADAL" clId="{DD5719D3-3B30-4777-85FE-B7C8F64CE137}" dt="2022-01-25T09:23:26.581" v="1879"/>
          <ac:spMkLst>
            <pc:docMk/>
            <pc:sldMk cId="399732829" sldId="281"/>
            <ac:spMk id="2" creationId="{F6C22201-963B-479E-A0A8-B34AB15DD77B}"/>
          </ac:spMkLst>
        </pc:spChg>
        <pc:spChg chg="mod ord">
          <ac:chgData name="Baumann, Werner" userId="2485b821-2188-41b3-b855-df6ae867ad2e" providerId="ADAL" clId="{DD5719D3-3B30-4777-85FE-B7C8F64CE137}" dt="2022-01-25T09:23:26.585" v="1881"/>
          <ac:spMkLst>
            <pc:docMk/>
            <pc:sldMk cId="399732829" sldId="281"/>
            <ac:spMk id="3" creationId="{1EAE43B5-4B18-4856-8BB4-7B8FA31A4F07}"/>
          </ac:spMkLst>
        </pc:spChg>
        <pc:spChg chg="mod ord">
          <ac:chgData name="Baumann, Werner" userId="2485b821-2188-41b3-b855-df6ae867ad2e" providerId="ADAL" clId="{DD5719D3-3B30-4777-85FE-B7C8F64CE137}" dt="2022-01-25T09:23:26.589" v="1883"/>
          <ac:spMkLst>
            <pc:docMk/>
            <pc:sldMk cId="399732829" sldId="281"/>
            <ac:spMk id="4" creationId="{9F2C81E6-C56F-4115-A075-1748C8DE4515}"/>
          </ac:spMkLst>
        </pc:spChg>
        <pc:spChg chg="mod ord">
          <ac:chgData name="Baumann, Werner" userId="2485b821-2188-41b3-b855-df6ae867ad2e" providerId="ADAL" clId="{DD5719D3-3B30-4777-85FE-B7C8F64CE137}" dt="2022-01-25T09:23:26.597" v="1887"/>
          <ac:spMkLst>
            <pc:docMk/>
            <pc:sldMk cId="399732829" sldId="281"/>
            <ac:spMk id="7" creationId="{5E8F6C5E-5CFF-42B4-942F-2FD93EC5718A}"/>
          </ac:spMkLst>
        </pc:spChg>
        <pc:spChg chg="mod ord">
          <ac:chgData name="Baumann, Werner" userId="2485b821-2188-41b3-b855-df6ae867ad2e" providerId="ADAL" clId="{DD5719D3-3B30-4777-85FE-B7C8F64CE137}" dt="2022-01-25T09:25:09.201" v="1935" actId="20577"/>
          <ac:spMkLst>
            <pc:docMk/>
            <pc:sldMk cId="399732829" sldId="281"/>
            <ac:spMk id="8" creationId="{7E13712C-AF48-46C2-8E33-9B487A426D3C}"/>
          </ac:spMkLst>
        </pc:spChg>
        <pc:spChg chg="mod ord">
          <ac:chgData name="Baumann, Werner" userId="2485b821-2188-41b3-b855-df6ae867ad2e" providerId="ADAL" clId="{DD5719D3-3B30-4777-85FE-B7C8F64CE137}" dt="2022-01-25T09:23:26.611" v="1895"/>
          <ac:spMkLst>
            <pc:docMk/>
            <pc:sldMk cId="399732829" sldId="281"/>
            <ac:spMk id="9" creationId="{B27E8440-5D75-476A-A6E7-F46C46B9864C}"/>
          </ac:spMkLst>
        </pc:spChg>
        <pc:spChg chg="mod ord">
          <ac:chgData name="Baumann, Werner" userId="2485b821-2188-41b3-b855-df6ae867ad2e" providerId="ADAL" clId="{DD5719D3-3B30-4777-85FE-B7C8F64CE137}" dt="2022-01-25T09:23:26.593" v="1885"/>
          <ac:spMkLst>
            <pc:docMk/>
            <pc:sldMk cId="399732829" sldId="281"/>
            <ac:spMk id="10" creationId="{91493E7D-A6FD-4EC8-A7E1-9A9ED5C84212}"/>
          </ac:spMkLst>
        </pc:spChg>
        <pc:spChg chg="mod ord">
          <ac:chgData name="Baumann, Werner" userId="2485b821-2188-41b3-b855-df6ae867ad2e" providerId="ADAL" clId="{DD5719D3-3B30-4777-85FE-B7C8F64CE137}" dt="2022-01-25T09:23:26.607" v="1893"/>
          <ac:spMkLst>
            <pc:docMk/>
            <pc:sldMk cId="399732829" sldId="281"/>
            <ac:spMk id="11" creationId="{3B64BCA7-5DD5-45FD-B40E-6E915CD4C70C}"/>
          </ac:spMkLst>
        </pc:spChg>
        <pc:spChg chg="mod ord">
          <ac:chgData name="Baumann, Werner" userId="2485b821-2188-41b3-b855-df6ae867ad2e" providerId="ADAL" clId="{DD5719D3-3B30-4777-85FE-B7C8F64CE137}" dt="2022-01-25T09:23:26.565" v="1871"/>
          <ac:spMkLst>
            <pc:docMk/>
            <pc:sldMk cId="399732829" sldId="281"/>
            <ac:spMk id="12" creationId="{63F6E1C4-DB50-4945-8FFE-CD0CEDFEE5B5}"/>
          </ac:spMkLst>
        </pc:spChg>
        <pc:spChg chg="mod ord">
          <ac:chgData name="Baumann, Werner" userId="2485b821-2188-41b3-b855-df6ae867ad2e" providerId="ADAL" clId="{DD5719D3-3B30-4777-85FE-B7C8F64CE137}" dt="2022-01-25T09:23:26.568" v="1873"/>
          <ac:spMkLst>
            <pc:docMk/>
            <pc:sldMk cId="399732829" sldId="281"/>
            <ac:spMk id="13" creationId="{C0838748-F5C8-4D0F-85C2-919E33B337EC}"/>
          </ac:spMkLst>
        </pc:spChg>
        <pc:spChg chg="add mod ord">
          <ac:chgData name="Baumann, Werner" userId="2485b821-2188-41b3-b855-df6ae867ad2e" providerId="ADAL" clId="{DD5719D3-3B30-4777-85FE-B7C8F64CE137}" dt="2022-01-25T09:23:26.615" v="1897"/>
          <ac:spMkLst>
            <pc:docMk/>
            <pc:sldMk cId="399732829" sldId="281"/>
            <ac:spMk id="14" creationId="{3CB3E8E4-6B8E-4DE7-BF9F-FCC2185444CC}"/>
          </ac:spMkLst>
        </pc:spChg>
        <pc:spChg chg="add del mod ord">
          <ac:chgData name="Baumann, Werner" userId="2485b821-2188-41b3-b855-df6ae867ad2e" providerId="ADAL" clId="{DD5719D3-3B30-4777-85FE-B7C8F64CE137}" dt="2022-01-25T09:14:19.680" v="932" actId="478"/>
          <ac:spMkLst>
            <pc:docMk/>
            <pc:sldMk cId="399732829" sldId="281"/>
            <ac:spMk id="15" creationId="{5753CAD3-4155-45C1-862B-301255FF7D40}"/>
          </ac:spMkLst>
        </pc:spChg>
        <pc:spChg chg="add mod ord">
          <ac:chgData name="Baumann, Werner" userId="2485b821-2188-41b3-b855-df6ae867ad2e" providerId="ADAL" clId="{DD5719D3-3B30-4777-85FE-B7C8F64CE137}" dt="2022-01-25T09:23:26.561" v="1869"/>
          <ac:spMkLst>
            <pc:docMk/>
            <pc:sldMk cId="399732829" sldId="281"/>
            <ac:spMk id="16" creationId="{46B56FAD-5129-4291-9E0A-D8E0325C484E}"/>
          </ac:spMkLst>
        </pc:spChg>
        <pc:spChg chg="add mod ord">
          <ac:chgData name="Baumann, Werner" userId="2485b821-2188-41b3-b855-df6ae867ad2e" providerId="ADAL" clId="{DD5719D3-3B30-4777-85FE-B7C8F64CE137}" dt="2022-01-25T09:23:26.601" v="1889"/>
          <ac:spMkLst>
            <pc:docMk/>
            <pc:sldMk cId="399732829" sldId="281"/>
            <ac:spMk id="17" creationId="{22B4C2D2-E605-4B6D-8276-BE9574C79651}"/>
          </ac:spMkLst>
        </pc:spChg>
        <pc:spChg chg="add mod ord">
          <ac:chgData name="Baumann, Werner" userId="2485b821-2188-41b3-b855-df6ae867ad2e" providerId="ADAL" clId="{DD5719D3-3B30-4777-85FE-B7C8F64CE137}" dt="2022-01-25T09:23:26.675" v="1925"/>
          <ac:spMkLst>
            <pc:docMk/>
            <pc:sldMk cId="399732829" sldId="281"/>
            <ac:spMk id="18" creationId="{7C27222F-54A9-4CB5-89CC-1C766BABCC67}"/>
          </ac:spMkLst>
        </pc:spChg>
        <pc:spChg chg="add mod ord">
          <ac:chgData name="Baumann, Werner" userId="2485b821-2188-41b3-b855-df6ae867ad2e" providerId="ADAL" clId="{DD5719D3-3B30-4777-85FE-B7C8F64CE137}" dt="2022-01-25T09:23:26.664" v="1921"/>
          <ac:spMkLst>
            <pc:docMk/>
            <pc:sldMk cId="399732829" sldId="281"/>
            <ac:spMk id="19" creationId="{3EA16CCD-1D97-408C-8317-6FF3DE2C82F4}"/>
          </ac:spMkLst>
        </pc:spChg>
        <pc:spChg chg="add mod ord">
          <ac:chgData name="Baumann, Werner" userId="2485b821-2188-41b3-b855-df6ae867ad2e" providerId="ADAL" clId="{DD5719D3-3B30-4777-85FE-B7C8F64CE137}" dt="2022-01-25T09:23:26.679" v="1927"/>
          <ac:spMkLst>
            <pc:docMk/>
            <pc:sldMk cId="399732829" sldId="281"/>
            <ac:spMk id="20" creationId="{F42D0B3E-313D-4AE6-9675-28D68263F7D9}"/>
          </ac:spMkLst>
        </pc:spChg>
        <pc:spChg chg="add mod ord">
          <ac:chgData name="Baumann, Werner" userId="2485b821-2188-41b3-b855-df6ae867ad2e" providerId="ADAL" clId="{DD5719D3-3B30-4777-85FE-B7C8F64CE137}" dt="2022-01-25T09:23:26.683" v="1929"/>
          <ac:spMkLst>
            <pc:docMk/>
            <pc:sldMk cId="399732829" sldId="281"/>
            <ac:spMk id="21" creationId="{436C5A6E-88BE-45A1-BD20-4951FE6C2E2F}"/>
          </ac:spMkLst>
        </pc:spChg>
        <pc:spChg chg="add mod ord">
          <ac:chgData name="Baumann, Werner" userId="2485b821-2188-41b3-b855-df6ae867ad2e" providerId="ADAL" clId="{DD5719D3-3B30-4777-85FE-B7C8F64CE137}" dt="2022-01-25T09:23:26.669" v="1923"/>
          <ac:spMkLst>
            <pc:docMk/>
            <pc:sldMk cId="399732829" sldId="281"/>
            <ac:spMk id="22" creationId="{64CB4BAA-5874-42EC-A75E-2961983CFAFA}"/>
          </ac:spMkLst>
        </pc:spChg>
        <pc:spChg chg="add mod ord">
          <ac:chgData name="Baumann, Werner" userId="2485b821-2188-41b3-b855-df6ae867ad2e" providerId="ADAL" clId="{DD5719D3-3B30-4777-85FE-B7C8F64CE137}" dt="2022-01-25T09:23:26.577" v="1877"/>
          <ac:spMkLst>
            <pc:docMk/>
            <pc:sldMk cId="399732829" sldId="281"/>
            <ac:spMk id="23" creationId="{AC373A6F-F8F9-4677-84CF-50344A48184F}"/>
          </ac:spMkLst>
        </pc:spChg>
        <pc:spChg chg="add mod ord">
          <ac:chgData name="Baumann, Werner" userId="2485b821-2188-41b3-b855-df6ae867ad2e" providerId="ADAL" clId="{DD5719D3-3B30-4777-85FE-B7C8F64CE137}" dt="2022-01-25T09:23:26.573" v="1875"/>
          <ac:spMkLst>
            <pc:docMk/>
            <pc:sldMk cId="399732829" sldId="281"/>
            <ac:spMk id="24" creationId="{8E7C0128-5720-415E-9ABB-EB37CA20B2C1}"/>
          </ac:spMkLst>
        </pc:spChg>
        <pc:spChg chg="add mod ord">
          <ac:chgData name="Baumann, Werner" userId="2485b821-2188-41b3-b855-df6ae867ad2e" providerId="ADAL" clId="{DD5719D3-3B30-4777-85FE-B7C8F64CE137}" dt="2022-01-25T09:23:26.648" v="1913"/>
          <ac:spMkLst>
            <pc:docMk/>
            <pc:sldMk cId="399732829" sldId="281"/>
            <ac:spMk id="35" creationId="{03048039-6D2A-41C0-89EC-654BB77F9757}"/>
          </ac:spMkLst>
        </pc:spChg>
        <pc:spChg chg="add mod ord">
          <ac:chgData name="Baumann, Werner" userId="2485b821-2188-41b3-b855-df6ae867ad2e" providerId="ADAL" clId="{DD5719D3-3B30-4777-85FE-B7C8F64CE137}" dt="2022-01-25T09:23:26.652" v="1915"/>
          <ac:spMkLst>
            <pc:docMk/>
            <pc:sldMk cId="399732829" sldId="281"/>
            <ac:spMk id="36" creationId="{045A2690-4248-4BE4-84AF-000C15EBFF97}"/>
          </ac:spMkLst>
        </pc:spChg>
        <pc:spChg chg="add del">
          <ac:chgData name="Baumann, Werner" userId="2485b821-2188-41b3-b855-df6ae867ad2e" providerId="ADAL" clId="{DD5719D3-3B30-4777-85FE-B7C8F64CE137}" dt="2022-01-25T08:59:59.800" v="533" actId="478"/>
          <ac:spMkLst>
            <pc:docMk/>
            <pc:sldMk cId="399732829" sldId="281"/>
            <ac:spMk id="53" creationId="{7A700AC1-7074-4EC0-ACCA-260DDCC93AEA}"/>
          </ac:spMkLst>
        </pc:spChg>
        <pc:spChg chg="add mod ord">
          <ac:chgData name="Baumann, Werner" userId="2485b821-2188-41b3-b855-df6ae867ad2e" providerId="ADAL" clId="{DD5719D3-3B30-4777-85FE-B7C8F64CE137}" dt="2022-01-25T09:23:26.656" v="1917"/>
          <ac:spMkLst>
            <pc:docMk/>
            <pc:sldMk cId="399732829" sldId="281"/>
            <ac:spMk id="59" creationId="{BFCB7DB1-DFA2-4DA3-8622-83D930A90CBC}"/>
          </ac:spMkLst>
        </pc:spChg>
        <pc:spChg chg="add mod ord">
          <ac:chgData name="Baumann, Werner" userId="2485b821-2188-41b3-b855-df6ae867ad2e" providerId="ADAL" clId="{DD5719D3-3B30-4777-85FE-B7C8F64CE137}" dt="2022-01-25T09:23:26.660" v="1919"/>
          <ac:spMkLst>
            <pc:docMk/>
            <pc:sldMk cId="399732829" sldId="281"/>
            <ac:spMk id="60" creationId="{AA75807D-545E-4BD4-A6D0-C6335A73F60A}"/>
          </ac:spMkLst>
        </pc:spChg>
        <pc:spChg chg="add mod ord">
          <ac:chgData name="Baumann, Werner" userId="2485b821-2188-41b3-b855-df6ae867ad2e" providerId="ADAL" clId="{DD5719D3-3B30-4777-85FE-B7C8F64CE137}" dt="2022-01-25T09:23:26.644" v="1911"/>
          <ac:spMkLst>
            <pc:docMk/>
            <pc:sldMk cId="399732829" sldId="281"/>
            <ac:spMk id="74" creationId="{7412530A-175C-4824-A9E3-6A2B1B42B2FD}"/>
          </ac:spMkLst>
        </pc:spChg>
        <pc:graphicFrameChg chg="mod ord">
          <ac:chgData name="Baumann, Werner" userId="2485b821-2188-41b3-b855-df6ae867ad2e" providerId="ADAL" clId="{DD5719D3-3B30-4777-85FE-B7C8F64CE137}" dt="2022-01-25T09:23:26.690" v="1931"/>
          <ac:graphicFrameMkLst>
            <pc:docMk/>
            <pc:sldMk cId="399732829" sldId="281"/>
            <ac:graphicFrameMk id="6" creationId="{DEF98A07-C940-4D5E-9AD6-1838FDD2432E}"/>
          </ac:graphicFrameMkLst>
        </pc:graphicFrameChg>
        <pc:picChg chg="add mod ord">
          <ac:chgData name="Baumann, Werner" userId="2485b821-2188-41b3-b855-df6ae867ad2e" providerId="ADAL" clId="{DD5719D3-3B30-4777-85FE-B7C8F64CE137}" dt="2022-01-25T09:23:26.632" v="1905"/>
          <ac:picMkLst>
            <pc:docMk/>
            <pc:sldMk cId="399732829" sldId="281"/>
            <ac:picMk id="64" creationId="{C09F8CBC-9988-465D-9648-CF1A61DAA225}"/>
          </ac:picMkLst>
        </pc:picChg>
        <pc:cxnChg chg="add mod ord">
          <ac:chgData name="Baumann, Werner" userId="2485b821-2188-41b3-b855-df6ae867ad2e" providerId="ADAL" clId="{DD5719D3-3B30-4777-85FE-B7C8F64CE137}" dt="2022-01-25T09:23:26.619" v="1899"/>
          <ac:cxnSpMkLst>
            <pc:docMk/>
            <pc:sldMk cId="399732829" sldId="281"/>
            <ac:cxnSpMk id="26" creationId="{D61A9F30-A2AA-4A73-9C22-4A9F9EB41093}"/>
          </ac:cxnSpMkLst>
        </pc:cxnChg>
        <pc:cxnChg chg="add mod ord">
          <ac:chgData name="Baumann, Werner" userId="2485b821-2188-41b3-b855-df6ae867ad2e" providerId="ADAL" clId="{DD5719D3-3B30-4777-85FE-B7C8F64CE137}" dt="2022-01-25T09:23:26.623" v="1901"/>
          <ac:cxnSpMkLst>
            <pc:docMk/>
            <pc:sldMk cId="399732829" sldId="281"/>
            <ac:cxnSpMk id="27" creationId="{E196042D-728E-4205-9356-032B00A0AC87}"/>
          </ac:cxnSpMkLst>
        </pc:cxnChg>
        <pc:cxnChg chg="add del mod">
          <ac:chgData name="Baumann, Werner" userId="2485b821-2188-41b3-b855-df6ae867ad2e" providerId="ADAL" clId="{DD5719D3-3B30-4777-85FE-B7C8F64CE137}" dt="2022-01-25T09:01:55.832" v="553" actId="478"/>
          <ac:cxnSpMkLst>
            <pc:docMk/>
            <pc:sldMk cId="399732829" sldId="281"/>
            <ac:cxnSpMk id="33" creationId="{99EDBCCB-4B30-4A01-AD1D-555DEA4682D1}"/>
          </ac:cxnSpMkLst>
        </pc:cxnChg>
        <pc:cxnChg chg="add del mod">
          <ac:chgData name="Baumann, Werner" userId="2485b821-2188-41b3-b855-df6ae867ad2e" providerId="ADAL" clId="{DD5719D3-3B30-4777-85FE-B7C8F64CE137}" dt="2022-01-25T09:01:57.739" v="554" actId="478"/>
          <ac:cxnSpMkLst>
            <pc:docMk/>
            <pc:sldMk cId="399732829" sldId="281"/>
            <ac:cxnSpMk id="34" creationId="{8F0A29CA-6FB5-419F-BC36-FF3858D76209}"/>
          </ac:cxnSpMkLst>
        </pc:cxnChg>
        <pc:cxnChg chg="add del mod ord">
          <ac:chgData name="Baumann, Werner" userId="2485b821-2188-41b3-b855-df6ae867ad2e" providerId="ADAL" clId="{DD5719D3-3B30-4777-85FE-B7C8F64CE137}" dt="2022-01-25T09:14:21.950" v="933" actId="478"/>
          <ac:cxnSpMkLst>
            <pc:docMk/>
            <pc:sldMk cId="399732829" sldId="281"/>
            <ac:cxnSpMk id="39" creationId="{33580A76-FE34-4118-80A5-4A3BD7CD2658}"/>
          </ac:cxnSpMkLst>
        </pc:cxnChg>
        <pc:cxnChg chg="add mod ord">
          <ac:chgData name="Baumann, Werner" userId="2485b821-2188-41b3-b855-df6ae867ad2e" providerId="ADAL" clId="{DD5719D3-3B30-4777-85FE-B7C8F64CE137}" dt="2022-01-25T09:23:26.627" v="1903"/>
          <ac:cxnSpMkLst>
            <pc:docMk/>
            <pc:sldMk cId="399732829" sldId="281"/>
            <ac:cxnSpMk id="40" creationId="{664768C9-5937-476E-AC84-3F14795A32B4}"/>
          </ac:cxnSpMkLst>
        </pc:cxnChg>
        <pc:cxnChg chg="add del mod">
          <ac:chgData name="Baumann, Werner" userId="2485b821-2188-41b3-b855-df6ae867ad2e" providerId="ADAL" clId="{DD5719D3-3B30-4777-85FE-B7C8F64CE137}" dt="2022-01-25T09:00:15.861" v="535" actId="478"/>
          <ac:cxnSpMkLst>
            <pc:docMk/>
            <pc:sldMk cId="399732829" sldId="281"/>
            <ac:cxnSpMk id="55" creationId="{AD91ACB8-5ABA-49CC-89D9-830E1C3CDE08}"/>
          </ac:cxnSpMkLst>
        </pc:cxnChg>
        <pc:cxnChg chg="add del mod">
          <ac:chgData name="Baumann, Werner" userId="2485b821-2188-41b3-b855-df6ae867ad2e" providerId="ADAL" clId="{DD5719D3-3B30-4777-85FE-B7C8F64CE137}" dt="2022-01-25T09:00:39.778" v="538" actId="478"/>
          <ac:cxnSpMkLst>
            <pc:docMk/>
            <pc:sldMk cId="399732829" sldId="281"/>
            <ac:cxnSpMk id="57" creationId="{BF5CD32E-62FE-4E4F-9CD0-4E76C1654B6E}"/>
          </ac:cxnSpMkLst>
        </pc:cxnChg>
        <pc:cxnChg chg="add mod ord">
          <ac:chgData name="Baumann, Werner" userId="2485b821-2188-41b3-b855-df6ae867ad2e" providerId="ADAL" clId="{DD5719D3-3B30-4777-85FE-B7C8F64CE137}" dt="2022-01-25T09:23:26.636" v="1907"/>
          <ac:cxnSpMkLst>
            <pc:docMk/>
            <pc:sldMk cId="399732829" sldId="281"/>
            <ac:cxnSpMk id="65" creationId="{3BE438D2-FAC3-422C-A87B-48D871BC0AAA}"/>
          </ac:cxnSpMkLst>
        </pc:cxnChg>
        <pc:cxnChg chg="add mod ord">
          <ac:chgData name="Baumann, Werner" userId="2485b821-2188-41b3-b855-df6ae867ad2e" providerId="ADAL" clId="{DD5719D3-3B30-4777-85FE-B7C8F64CE137}" dt="2022-01-25T09:23:26.640" v="1909"/>
          <ac:cxnSpMkLst>
            <pc:docMk/>
            <pc:sldMk cId="399732829" sldId="281"/>
            <ac:cxnSpMk id="77" creationId="{115903DF-4818-4639-AED8-A60FE343C509}"/>
          </ac:cxnSpMkLst>
        </pc:cxnChg>
        <pc:cxnChg chg="add del">
          <ac:chgData name="Baumann, Werner" userId="2485b821-2188-41b3-b855-df6ae867ad2e" providerId="ADAL" clId="{DD5719D3-3B30-4777-85FE-B7C8F64CE137}" dt="2022-01-25T09:23:57.132" v="1933" actId="478"/>
          <ac:cxnSpMkLst>
            <pc:docMk/>
            <pc:sldMk cId="399732829" sldId="281"/>
            <ac:cxnSpMk id="81" creationId="{EA5CD6F1-1313-4A05-B5BD-34585CC9C071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035552" y="9553579"/>
            <a:ext cx="127635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53" tIns="0" rIns="18953" bIns="0" numCol="1" anchor="t" anchorCtr="0" compatLnSpc="1">
            <a:prstTxWarp prst="textNoShape">
              <a:avLst/>
            </a:prstTxWarp>
          </a:bodyPr>
          <a:lstStyle>
            <a:lvl1pPr algn="r" defTabSz="783553" eaLnBrk="0" hangingPunct="0">
              <a:defRPr sz="1000" dirty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CH" dirty="0">
                <a:solidFill>
                  <a:srgbClr val="080808"/>
                </a:solidFill>
              </a:rPr>
              <a:t>Seite </a:t>
            </a:r>
            <a:fld id="{82C2CAD9-5AC5-464C-8615-619BE0DE495E}" type="slidenum">
              <a:rPr lang="de-CH">
                <a:solidFill>
                  <a:srgbClr val="080808"/>
                </a:solidFill>
              </a:rPr>
              <a:pPr>
                <a:defRPr/>
              </a:pPr>
              <a:t>‹Nr.›</a:t>
            </a:fld>
            <a:endParaRPr lang="de-CH" dirty="0">
              <a:solidFill>
                <a:srgbClr val="080808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82601" y="9555163"/>
            <a:ext cx="5049838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53" tIns="0" rIns="18953" bIns="0" numCol="1" anchor="t" anchorCtr="0" compatLnSpc="1">
            <a:prstTxWarp prst="textNoShape">
              <a:avLst/>
            </a:prstTxWarp>
          </a:bodyPr>
          <a:lstStyle>
            <a:lvl1pPr algn="l" defTabSz="783553" eaLnBrk="0" hangingPunct="0">
              <a:defRPr sz="1000" dirty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CH" dirty="0">
                <a:solidFill>
                  <a:srgbClr val="080808"/>
                </a:solidFill>
              </a:rPr>
              <a:t>AWK Group</a:t>
            </a:r>
          </a:p>
        </p:txBody>
      </p:sp>
      <p:pic>
        <p:nvPicPr>
          <p:cNvPr id="5" name="Grafik 4" descr="P:\Proj_Gr\10192_KST_192_KO\Marktauftritt_2015\Berichte\03_Logo\Logo_Dreikreise\Logo_AWK_Dreikreis_RGB.wm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972" y="334157"/>
            <a:ext cx="413385" cy="3956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55182306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pos="308" userDrawn="1">
          <p15:clr>
            <a:srgbClr val="F26B43"/>
          </p15:clr>
        </p15:guide>
        <p15:guide id="2" orient="horz" pos="2840" userDrawn="1">
          <p15:clr>
            <a:srgbClr val="F26B43"/>
          </p15:clr>
        </p15:guide>
        <p15:guide id="3" pos="3982" userDrawn="1">
          <p15:clr>
            <a:srgbClr val="F26B43"/>
          </p15:clr>
        </p15:guide>
        <p15:guide id="4" orient="horz" pos="6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035552" y="9553579"/>
            <a:ext cx="127635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53" tIns="0" rIns="18953" bIns="0" numCol="1" anchor="t" anchorCtr="0" compatLnSpc="1">
            <a:prstTxWarp prst="textNoShape">
              <a:avLst/>
            </a:prstTxWarp>
          </a:bodyPr>
          <a:lstStyle>
            <a:lvl1pPr algn="r" defTabSz="783553" eaLnBrk="0" hangingPunct="0">
              <a:defRPr sz="10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CH"/>
              <a:t>Seite </a:t>
            </a:r>
            <a:fld id="{BD175881-983A-4DD9-A31C-16EEE17A7366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4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91835" y="9555163"/>
            <a:ext cx="5040605" cy="153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53" tIns="0" rIns="18953" bIns="0" numCol="1" anchor="t" anchorCtr="0" compatLnSpc="1">
            <a:prstTxWarp prst="textNoShape">
              <a:avLst/>
            </a:prstTxWarp>
          </a:bodyPr>
          <a:lstStyle>
            <a:lvl1pPr algn="l" defTabSz="783553" eaLnBrk="0" hangingPunct="0">
              <a:defRPr sz="100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CH" dirty="0"/>
              <a:t>AWK Group</a:t>
            </a:r>
          </a:p>
        </p:txBody>
      </p:sp>
      <p:sp>
        <p:nvSpPr>
          <p:cNvPr id="9" name="Notizenplatzhalter 8"/>
          <p:cNvSpPr>
            <a:spLocks noGrp="1"/>
          </p:cNvSpPr>
          <p:nvPr>
            <p:ph type="body" sz="quarter" idx="3"/>
          </p:nvPr>
        </p:nvSpPr>
        <p:spPr>
          <a:xfrm>
            <a:off x="491835" y="4797426"/>
            <a:ext cx="5829591" cy="4637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/>
              <a:t>Textmasterformate durch Klicken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2" name="Folienbildplatzhalter 1"/>
          <p:cNvSpPr>
            <a:spLocks noGrp="1" noRot="1" noChangeAspect="1"/>
          </p:cNvSpPr>
          <p:nvPr>
            <p:ph type="sldImg" idx="2"/>
          </p:nvPr>
        </p:nvSpPr>
        <p:spPr>
          <a:xfrm>
            <a:off x="499202" y="903002"/>
            <a:ext cx="5812700" cy="327061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endParaRPr lang="de-CH"/>
          </a:p>
        </p:txBody>
      </p:sp>
      <p:pic>
        <p:nvPicPr>
          <p:cNvPr id="6" name="Grafik 5" descr="P:\Proj_Gr\10192_KST_192_KO\Marktauftritt_2015\Berichte\03_Logo\Logo_Dreikreise\Logo_AWK_Dreikreis_RGB.wm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972" y="334157"/>
            <a:ext cx="413385" cy="3956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350318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792163" rtl="0" eaLnBrk="0" fontAlgn="base" hangingPunct="0">
      <a:spcBef>
        <a:spcPct val="50000"/>
      </a:spcBef>
      <a:spcAft>
        <a:spcPct val="0"/>
      </a:spcAft>
      <a:tabLst>
        <a:tab pos="5708650" algn="r"/>
      </a:tabLst>
      <a:defRPr sz="1200" b="1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1pPr>
    <a:lvl2pPr marL="1588" algn="l" defTabSz="792163" rtl="0" eaLnBrk="0" fontAlgn="base" hangingPunct="0">
      <a:spcBef>
        <a:spcPct val="40000"/>
      </a:spcBef>
      <a:spcAft>
        <a:spcPct val="0"/>
      </a:spcAft>
      <a:buSzPct val="110000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2pPr>
    <a:lvl3pPr marL="180975" indent="-180975" algn="l" defTabSz="792163" rtl="0" eaLnBrk="0" fontAlgn="base" hangingPunct="0">
      <a:spcBef>
        <a:spcPct val="40000"/>
      </a:spcBef>
      <a:spcAft>
        <a:spcPct val="15000"/>
      </a:spcAft>
      <a:buFont typeface="Arial" charset="0"/>
      <a:buChar char="●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3pPr>
    <a:lvl4pPr marL="358775" indent="-179388" algn="l" defTabSz="792163" rtl="0" eaLnBrk="0" fontAlgn="base" hangingPunct="0">
      <a:spcBef>
        <a:spcPct val="40000"/>
      </a:spcBef>
      <a:spcAft>
        <a:spcPct val="15000"/>
      </a:spcAft>
      <a:buChar char="–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4pPr>
    <a:lvl5pPr marL="538163" indent="-180975" algn="l" defTabSz="792163" rtl="0" eaLnBrk="0" fontAlgn="base" hangingPunct="0">
      <a:spcBef>
        <a:spcPct val="40000"/>
      </a:spcBef>
      <a:spcAft>
        <a:spcPct val="0"/>
      </a:spcAft>
      <a:buFont typeface="Wingdings" pitchFamily="2" charset="2"/>
      <a:buChar char="§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8" userDrawn="1">
          <p15:clr>
            <a:srgbClr val="F26B43"/>
          </p15:clr>
        </p15:guide>
        <p15:guide id="3" pos="3982" userDrawn="1">
          <p15:clr>
            <a:srgbClr val="F26B43"/>
          </p15:clr>
        </p15:guide>
        <p15:guide id="4" orient="horz" pos="302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AWK Group</a:t>
            </a:r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/>
              <a:t>Seite </a:t>
            </a:r>
            <a:fld id="{B9206E06-6949-4793-ACD3-A3259457E2DB}" type="slidenum">
              <a:rPr lang="de-CH" smtClean="0"/>
              <a:pPr/>
              <a:t>1</a:t>
            </a:fld>
            <a:endParaRPr lang="de-CH" dirty="0"/>
          </a:p>
        </p:txBody>
      </p:sp>
      <p:sp>
        <p:nvSpPr>
          <p:cNvPr id="11" name="Notizenplatzhalt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CH"/>
              <a:t>Titel (Mit Button "Listenebene" Einzugsebene wählen)</a:t>
            </a:r>
          </a:p>
          <a:p>
            <a:pPr lvl="1"/>
            <a:r>
              <a:rPr lang="de-CH"/>
              <a:t>Text</a:t>
            </a:r>
          </a:p>
          <a:p>
            <a:pPr lvl="2"/>
            <a:r>
              <a:rPr lang="de-CH"/>
              <a:t>Auflistung 1</a:t>
            </a:r>
          </a:p>
          <a:p>
            <a:pPr lvl="3"/>
            <a:r>
              <a:rPr lang="de-CH"/>
              <a:t>Auflistung 2</a:t>
            </a:r>
          </a:p>
          <a:p>
            <a:endParaRPr lang="de-CH" dirty="0"/>
          </a:p>
        </p:txBody>
      </p:sp>
      <p:sp>
        <p:nvSpPr>
          <p:cNvPr id="5" name="Folienbildplatzhalter 4"/>
          <p:cNvSpPr>
            <a:spLocks noGrp="1" noRot="1" noChangeAspect="1"/>
          </p:cNvSpPr>
          <p:nvPr>
            <p:ph type="sldImg"/>
          </p:nvPr>
        </p:nvSpPr>
        <p:spPr>
          <a:xfrm>
            <a:off x="-177800" y="520700"/>
            <a:ext cx="7169150" cy="4033838"/>
          </a:xfrm>
        </p:spPr>
      </p:sp>
    </p:spTree>
    <p:extLst>
      <p:ext uri="{BB962C8B-B14F-4D97-AF65-F5344CB8AC3E}">
        <p14:creationId xmlns:p14="http://schemas.microsoft.com/office/powerpoint/2010/main" val="4238391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0.xml"/><Relationship Id="rId10" Type="http://schemas.openxmlformats.org/officeDocument/2006/relationships/oleObject" Target="../embeddings/oleObject7.bin"/><Relationship Id="rId4" Type="http://schemas.openxmlformats.org/officeDocument/2006/relationships/tags" Target="../tags/tag9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WK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91450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65E980-DA96-47AE-9946-B1AE90DDBE0D}"/>
              </a:ext>
            </a:extLst>
          </p:cNvPr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CH" sz="2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7C15A90-D63D-473A-97E9-35FE25338F5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79"/>
          <a:stretch/>
        </p:blipFill>
        <p:spPr>
          <a:xfrm>
            <a:off x="2159" y="0"/>
            <a:ext cx="11354251" cy="6858000"/>
          </a:xfrm>
          <a:prstGeom prst="rect">
            <a:avLst/>
          </a:prstGeom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2987432" y="293689"/>
            <a:ext cx="8678985" cy="1421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271" tIns="56614" rIns="111271" bIns="56614">
            <a:spAutoFit/>
          </a:bodyPr>
          <a:lstStyle/>
          <a:p>
            <a:pPr algn="l" defTabSz="928101" eaLnBrk="0" hangingPunct="0">
              <a:defRPr/>
            </a:pPr>
            <a:endParaRPr lang="de-CH" sz="2831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928101" eaLnBrk="0" hangingPunct="0">
              <a:defRPr/>
            </a:pPr>
            <a:endParaRPr lang="de-CH" sz="2831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928101" eaLnBrk="0" hangingPunct="0">
              <a:defRPr/>
            </a:pPr>
            <a:endParaRPr lang="de-CH" sz="2831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</p:txBody>
      </p:sp>
      <p:cxnSp>
        <p:nvCxnSpPr>
          <p:cNvPr id="6" name="Gerade Verbindung 5"/>
          <p:cNvCxnSpPr>
            <a:cxnSpLocks/>
          </p:cNvCxnSpPr>
          <p:nvPr/>
        </p:nvCxnSpPr>
        <p:spPr>
          <a:xfrm flipH="1">
            <a:off x="777632" y="4941170"/>
            <a:ext cx="582319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8" name="Rectangle 26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77633" y="3033712"/>
            <a:ext cx="5823192" cy="1754819"/>
          </a:xfrm>
          <a:noFill/>
        </p:spPr>
        <p:txBody>
          <a:bodyPr anchor="b"/>
          <a:lstStyle>
            <a:lvl1pPr>
              <a:defRPr sz="2400" b="1" noProof="1">
                <a:solidFill>
                  <a:srgbClr val="336483"/>
                </a:solidFill>
                <a:latin typeface="+mj-lt"/>
              </a:defRPr>
            </a:lvl1pPr>
          </a:lstStyle>
          <a:p>
            <a:r>
              <a:rPr lang="de-CH" noProof="1"/>
              <a:t>Optionaler Obertitel in grün</a:t>
            </a:r>
            <a:br>
              <a:rPr lang="de-CH" noProof="1"/>
            </a:br>
            <a:r>
              <a:rPr lang="de-CH" noProof="1"/>
              <a:t>Präsentationstitel in blau</a:t>
            </a:r>
          </a:p>
        </p:txBody>
      </p:sp>
      <p:sp>
        <p:nvSpPr>
          <p:cNvPr id="8219" name="Rectangle 27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777632" y="5157193"/>
            <a:ext cx="5823193" cy="1216495"/>
          </a:xfrm>
          <a:noFill/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FontTx/>
              <a:buNone/>
              <a:tabLst>
                <a:tab pos="701449" algn="l"/>
                <a:tab pos="2694422" algn="l"/>
                <a:tab pos="4568207" algn="l"/>
                <a:tab pos="6447854" algn="l"/>
                <a:tab pos="9716720" algn="r"/>
              </a:tabLst>
              <a:defRPr sz="1400" b="0" baseline="0" noProof="1">
                <a:solidFill>
                  <a:schemeClr val="tx1"/>
                </a:solidFill>
                <a:latin typeface="+mn-lt"/>
              </a:defRPr>
            </a:lvl1pPr>
            <a:lvl2pPr marL="443535" indent="-443535">
              <a:defRPr sz="1969">
                <a:solidFill>
                  <a:schemeClr val="bg1"/>
                </a:solidFill>
              </a:defRPr>
            </a:lvl2pPr>
          </a:lstStyle>
          <a:p>
            <a:pPr lvl="0"/>
            <a:r>
              <a:rPr lang="de-DE" noProof="1"/>
              <a:t>Master-Untertitelformat bearbeiten</a:t>
            </a:r>
            <a:endParaRPr lang="de-CH" noProof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F691A3C-37E8-4B09-911A-60BB235109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415" y="328269"/>
            <a:ext cx="2891641" cy="656973"/>
          </a:xfrm>
          <a:prstGeom prst="rect">
            <a:avLst/>
          </a:prstGeom>
        </p:spPr>
      </p:pic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33AE2868-9F35-4948-89BE-29688E8653F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CH" sz="24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C02BE18-E13F-4BA4-B947-3BF5CE709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79"/>
          <a:stretch/>
        </p:blipFill>
        <p:spPr>
          <a:xfrm>
            <a:off x="2159" y="0"/>
            <a:ext cx="113542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00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4158" userDrawn="1">
          <p15:clr>
            <a:srgbClr val="FBAE40"/>
          </p15:clr>
        </p15:guide>
        <p15:guide id="10" orient="horz" pos="1911" userDrawn="1">
          <p15:clr>
            <a:srgbClr val="FBAE40"/>
          </p15:clr>
        </p15:guide>
        <p15:guide id="11" orient="horz" pos="324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richt mi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77631" y="1124745"/>
            <a:ext cx="11168185" cy="5256585"/>
          </a:xfrm>
        </p:spPr>
        <p:txBody>
          <a:bodyPr numCol="2" spcCol="216000">
            <a:noAutofit/>
          </a:bodyPr>
          <a:lstStyle>
            <a:lvl1pPr marL="0" indent="0">
              <a:buFontTx/>
              <a:buNone/>
              <a:defRPr sz="1600" b="1">
                <a:latin typeface="+mn-lt"/>
              </a:defRPr>
            </a:lvl1pPr>
            <a:lvl2pPr marL="0" indent="0">
              <a:buFont typeface="Arial" pitchFamily="34" charset="0"/>
              <a:buNone/>
              <a:defRPr sz="1400">
                <a:latin typeface="+mn-lt"/>
              </a:defRPr>
            </a:lvl2pPr>
            <a:lvl3pPr marL="265730" indent="-265730">
              <a:buFont typeface="Arial" panose="020B0604020202020204" pitchFamily="34" charset="0"/>
              <a:buChar char="●"/>
              <a:defRPr sz="1400">
                <a:latin typeface="+mn-lt"/>
              </a:defRPr>
            </a:lvl3pPr>
            <a:lvl4pPr marL="1262216" marR="0" indent="-271592" algn="l" defTabSz="937870" rtl="0" eaLnBrk="1" fontAlgn="base" latinLnBrk="0" hangingPunct="1">
              <a:lnSpc>
                <a:spcPct val="100000"/>
              </a:lnSpc>
              <a:spcBef>
                <a:spcPts val="492"/>
              </a:spcBef>
              <a:spcAft>
                <a:spcPct val="0"/>
              </a:spcAft>
              <a:buClr>
                <a:schemeClr val="accent6"/>
              </a:buClr>
              <a:buSzPct val="100000"/>
              <a:buFont typeface="Symbol" panose="05050102010706020507" pitchFamily="18" charset="2"/>
              <a:buChar char="-"/>
              <a:tabLst>
                <a:tab pos="9677643" algn="r"/>
              </a:tabLst>
              <a:defRPr sz="1477"/>
            </a:lvl4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4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A0A9CA-893F-48A2-9E55-3CD64C93054E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6" name="Textplatzhalt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77631" y="138260"/>
            <a:ext cx="11168185" cy="230400"/>
          </a:xfrm>
          <a:noFill/>
        </p:spPr>
        <p:txBody>
          <a:bodyPr wrap="square" tIns="0" bIns="0" anchor="ctr" anchorCtr="0">
            <a:noAutofit/>
          </a:bodyPr>
          <a:lstStyle>
            <a:lvl1pPr marL="0" indent="0" algn="l" defTabSz="93787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8499443" algn="r"/>
                <a:tab pos="11146972" algn="r"/>
              </a:tabLst>
              <a:defRPr lang="de-DE" sz="1400" b="1" noProof="0" dirty="0" smtClean="0">
                <a:solidFill>
                  <a:srgbClr val="B3CA2C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CH" noProof="0" dirty="0"/>
              <a:t>Rubrik / Kapitel</a:t>
            </a:r>
          </a:p>
        </p:txBody>
      </p:sp>
      <p:sp>
        <p:nvSpPr>
          <p:cNvPr id="7" name="Titel 5"/>
          <p:cNvSpPr>
            <a:spLocks noGrp="1"/>
          </p:cNvSpPr>
          <p:nvPr>
            <p:ph type="title" hasCustomPrompt="1"/>
          </p:nvPr>
        </p:nvSpPr>
        <p:spPr>
          <a:xfrm>
            <a:off x="777631" y="419412"/>
            <a:ext cx="11168185" cy="396000"/>
          </a:xfrm>
        </p:spPr>
        <p:txBody>
          <a:bodyPr wrap="square">
            <a:normAutofit/>
          </a:bodyPr>
          <a:lstStyle>
            <a:lvl1pPr>
              <a:lnSpc>
                <a:spcPts val="2215"/>
              </a:lnSpc>
              <a:defRPr sz="2000" b="1">
                <a:solidFill>
                  <a:srgbClr val="336483"/>
                </a:solidFill>
              </a:defRPr>
            </a:lvl1pPr>
          </a:lstStyle>
          <a:p>
            <a:r>
              <a:rPr lang="de-CH" noProof="0" dirty="0"/>
              <a:t>Folientitel / Message</a:t>
            </a:r>
          </a:p>
        </p:txBody>
      </p:sp>
    </p:spTree>
    <p:extLst>
      <p:ext uri="{BB962C8B-B14F-4D97-AF65-F5344CB8AC3E}">
        <p14:creationId xmlns:p14="http://schemas.microsoft.com/office/powerpoint/2010/main" val="29532227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WK 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01056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26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6096001" y="1376772"/>
            <a:ext cx="5849815" cy="1755576"/>
          </a:xfrm>
          <a:noFill/>
        </p:spPr>
        <p:txBody>
          <a:bodyPr anchor="b"/>
          <a:lstStyle>
            <a:lvl1pPr>
              <a:defRPr sz="2400" b="1" noProof="1">
                <a:solidFill>
                  <a:srgbClr val="336483"/>
                </a:solidFill>
                <a:latin typeface="+mj-lt"/>
              </a:defRPr>
            </a:lvl1pPr>
          </a:lstStyle>
          <a:p>
            <a:r>
              <a:rPr lang="de-CH" noProof="1"/>
              <a:t>Optionaler Obertitel in grün</a:t>
            </a:r>
            <a:br>
              <a:rPr lang="de-CH" noProof="1"/>
            </a:br>
            <a:r>
              <a:rPr lang="de-CH" noProof="1"/>
              <a:t>Präsentationstitel in blau</a:t>
            </a:r>
          </a:p>
        </p:txBody>
      </p:sp>
      <p:sp>
        <p:nvSpPr>
          <p:cNvPr id="11" name="Rectangle 27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6096000" y="3501008"/>
            <a:ext cx="5849814" cy="1290325"/>
          </a:xfrm>
          <a:noFill/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FontTx/>
              <a:buNone/>
              <a:tabLst>
                <a:tab pos="701449" algn="l"/>
                <a:tab pos="2694422" algn="l"/>
                <a:tab pos="4568207" algn="l"/>
                <a:tab pos="6447854" algn="l"/>
                <a:tab pos="9716720" algn="r"/>
              </a:tabLst>
              <a:defRPr sz="1400" b="0" baseline="0" noProof="1">
                <a:solidFill>
                  <a:schemeClr val="tx1"/>
                </a:solidFill>
                <a:latin typeface="+mn-lt"/>
              </a:defRPr>
            </a:lvl1pPr>
            <a:lvl2pPr marL="443535" indent="-443535">
              <a:defRPr sz="1969">
                <a:solidFill>
                  <a:schemeClr val="bg1"/>
                </a:solidFill>
              </a:defRPr>
            </a:lvl2pPr>
          </a:lstStyle>
          <a:p>
            <a:pPr lvl="0"/>
            <a:r>
              <a:rPr lang="de-DE" noProof="1"/>
              <a:t>Master-Untertitelformat bearbeiten</a:t>
            </a:r>
            <a:endParaRPr lang="de-CH" noProof="1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" y="4783470"/>
            <a:ext cx="12192000" cy="2079340"/>
          </a:xfrm>
          <a:prstGeom prst="rect">
            <a:avLst/>
          </a:prstGeom>
        </p:spPr>
      </p:pic>
      <p:cxnSp>
        <p:nvCxnSpPr>
          <p:cNvPr id="13" name="Gerade Verbindung 5"/>
          <p:cNvCxnSpPr/>
          <p:nvPr/>
        </p:nvCxnSpPr>
        <p:spPr>
          <a:xfrm flipH="1">
            <a:off x="6096000" y="3284985"/>
            <a:ext cx="5848615" cy="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5"/>
          <p:cNvCxnSpPr/>
          <p:nvPr/>
        </p:nvCxnSpPr>
        <p:spPr>
          <a:xfrm flipH="1">
            <a:off x="6096000" y="3284985"/>
            <a:ext cx="5848615" cy="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9"/>
          <p:cNvSpPr/>
          <p:nvPr/>
        </p:nvSpPr>
        <p:spPr bwMode="auto">
          <a:xfrm>
            <a:off x="4194" y="0"/>
            <a:ext cx="5720862" cy="4648200"/>
          </a:xfrm>
          <a:custGeom>
            <a:avLst/>
            <a:gdLst>
              <a:gd name="connsiteX0" fmla="*/ 4187322 w 4648200"/>
              <a:gd name="connsiteY0" fmla="*/ 0 h 4648200"/>
              <a:gd name="connsiteX1" fmla="*/ 4648200 w 4648200"/>
              <a:gd name="connsiteY1" fmla="*/ 0 h 4648200"/>
              <a:gd name="connsiteX2" fmla="*/ 4648200 w 4648200"/>
              <a:gd name="connsiteY2" fmla="*/ 4648200 h 4648200"/>
              <a:gd name="connsiteX3" fmla="*/ 0 w 4648200"/>
              <a:gd name="connsiteY3" fmla="*/ 4648200 h 4648200"/>
              <a:gd name="connsiteX4" fmla="*/ 0 w 4648200"/>
              <a:gd name="connsiteY4" fmla="*/ 4100528 h 4648200"/>
              <a:gd name="connsiteX5" fmla="*/ 58200 w 4648200"/>
              <a:gd name="connsiteY5" fmla="*/ 4121829 h 4648200"/>
              <a:gd name="connsiteX6" fmla="*/ 1038225 w 4648200"/>
              <a:gd name="connsiteY6" fmla="*/ 4269995 h 4648200"/>
              <a:gd name="connsiteX7" fmla="*/ 4333875 w 4648200"/>
              <a:gd name="connsiteY7" fmla="*/ 974345 h 4648200"/>
              <a:gd name="connsiteX8" fmla="*/ 4230119 w 4648200"/>
              <a:gd name="connsiteY8" fmla="*/ 150711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48200" h="4648200">
                <a:moveTo>
                  <a:pt x="4187322" y="0"/>
                </a:moveTo>
                <a:lnTo>
                  <a:pt x="4648200" y="0"/>
                </a:lnTo>
                <a:lnTo>
                  <a:pt x="4648200" y="4648200"/>
                </a:lnTo>
                <a:lnTo>
                  <a:pt x="0" y="4648200"/>
                </a:lnTo>
                <a:lnTo>
                  <a:pt x="0" y="4100528"/>
                </a:lnTo>
                <a:lnTo>
                  <a:pt x="58200" y="4121829"/>
                </a:lnTo>
                <a:cubicBezTo>
                  <a:pt x="367789" y="4218122"/>
                  <a:pt x="696949" y="4269995"/>
                  <a:pt x="1038225" y="4269995"/>
                </a:cubicBezTo>
                <a:cubicBezTo>
                  <a:pt x="2858362" y="4269995"/>
                  <a:pt x="4333875" y="2794482"/>
                  <a:pt x="4333875" y="974345"/>
                </a:cubicBezTo>
                <a:cubicBezTo>
                  <a:pt x="4333875" y="689949"/>
                  <a:pt x="4297852" y="413966"/>
                  <a:pt x="4230119" y="150711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44308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0" name="Gerade Verbindung 5">
            <a:extLst>
              <a:ext uri="{FF2B5EF4-FFF2-40B4-BE49-F238E27FC236}">
                <a16:creationId xmlns:a16="http://schemas.microsoft.com/office/drawing/2014/main" id="{2597FE9A-EDAA-4B3A-B937-B47FEBAD7C68}"/>
              </a:ext>
            </a:extLst>
          </p:cNvPr>
          <p:cNvCxnSpPr/>
          <p:nvPr/>
        </p:nvCxnSpPr>
        <p:spPr>
          <a:xfrm flipH="1">
            <a:off x="6096000" y="3284985"/>
            <a:ext cx="5848615" cy="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ihandform 19">
            <a:extLst>
              <a:ext uri="{FF2B5EF4-FFF2-40B4-BE49-F238E27FC236}">
                <a16:creationId xmlns:a16="http://schemas.microsoft.com/office/drawing/2014/main" id="{D7EDD040-4080-46B9-9EE8-1153F1CE07A7}"/>
              </a:ext>
            </a:extLst>
          </p:cNvPr>
          <p:cNvSpPr/>
          <p:nvPr/>
        </p:nvSpPr>
        <p:spPr bwMode="auto">
          <a:xfrm>
            <a:off x="4194" y="0"/>
            <a:ext cx="5720862" cy="4648200"/>
          </a:xfrm>
          <a:custGeom>
            <a:avLst/>
            <a:gdLst>
              <a:gd name="connsiteX0" fmla="*/ 4187322 w 4648200"/>
              <a:gd name="connsiteY0" fmla="*/ 0 h 4648200"/>
              <a:gd name="connsiteX1" fmla="*/ 4648200 w 4648200"/>
              <a:gd name="connsiteY1" fmla="*/ 0 h 4648200"/>
              <a:gd name="connsiteX2" fmla="*/ 4648200 w 4648200"/>
              <a:gd name="connsiteY2" fmla="*/ 4648200 h 4648200"/>
              <a:gd name="connsiteX3" fmla="*/ 0 w 4648200"/>
              <a:gd name="connsiteY3" fmla="*/ 4648200 h 4648200"/>
              <a:gd name="connsiteX4" fmla="*/ 0 w 4648200"/>
              <a:gd name="connsiteY4" fmla="*/ 4100528 h 4648200"/>
              <a:gd name="connsiteX5" fmla="*/ 58200 w 4648200"/>
              <a:gd name="connsiteY5" fmla="*/ 4121829 h 4648200"/>
              <a:gd name="connsiteX6" fmla="*/ 1038225 w 4648200"/>
              <a:gd name="connsiteY6" fmla="*/ 4269995 h 4648200"/>
              <a:gd name="connsiteX7" fmla="*/ 4333875 w 4648200"/>
              <a:gd name="connsiteY7" fmla="*/ 974345 h 4648200"/>
              <a:gd name="connsiteX8" fmla="*/ 4230119 w 4648200"/>
              <a:gd name="connsiteY8" fmla="*/ 150711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48200" h="4648200">
                <a:moveTo>
                  <a:pt x="4187322" y="0"/>
                </a:moveTo>
                <a:lnTo>
                  <a:pt x="4648200" y="0"/>
                </a:lnTo>
                <a:lnTo>
                  <a:pt x="4648200" y="4648200"/>
                </a:lnTo>
                <a:lnTo>
                  <a:pt x="0" y="4648200"/>
                </a:lnTo>
                <a:lnTo>
                  <a:pt x="0" y="4100528"/>
                </a:lnTo>
                <a:lnTo>
                  <a:pt x="58200" y="4121829"/>
                </a:lnTo>
                <a:cubicBezTo>
                  <a:pt x="367789" y="4218122"/>
                  <a:pt x="696949" y="4269995"/>
                  <a:pt x="1038225" y="4269995"/>
                </a:cubicBezTo>
                <a:cubicBezTo>
                  <a:pt x="2858362" y="4269995"/>
                  <a:pt x="4333875" y="2794482"/>
                  <a:pt x="4333875" y="974345"/>
                </a:cubicBezTo>
                <a:cubicBezTo>
                  <a:pt x="4333875" y="689949"/>
                  <a:pt x="4297852" y="413966"/>
                  <a:pt x="4230119" y="150711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44308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7" name="Gerade Verbindung 5">
            <a:extLst>
              <a:ext uri="{FF2B5EF4-FFF2-40B4-BE49-F238E27FC236}">
                <a16:creationId xmlns:a16="http://schemas.microsoft.com/office/drawing/2014/main" id="{AC69AC88-E7DF-4C93-8471-61A4D99BFB01}"/>
              </a:ext>
            </a:extLst>
          </p:cNvPr>
          <p:cNvCxnSpPr/>
          <p:nvPr/>
        </p:nvCxnSpPr>
        <p:spPr>
          <a:xfrm flipH="1">
            <a:off x="6096000" y="3284985"/>
            <a:ext cx="5848615" cy="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ihandform 19">
            <a:extLst>
              <a:ext uri="{FF2B5EF4-FFF2-40B4-BE49-F238E27FC236}">
                <a16:creationId xmlns:a16="http://schemas.microsoft.com/office/drawing/2014/main" id="{B5CC3636-7468-4B04-A9D1-7C110FFADE16}"/>
              </a:ext>
            </a:extLst>
          </p:cNvPr>
          <p:cNvSpPr/>
          <p:nvPr/>
        </p:nvSpPr>
        <p:spPr bwMode="auto">
          <a:xfrm>
            <a:off x="4194" y="0"/>
            <a:ext cx="5720862" cy="4648200"/>
          </a:xfrm>
          <a:custGeom>
            <a:avLst/>
            <a:gdLst>
              <a:gd name="connsiteX0" fmla="*/ 4187322 w 4648200"/>
              <a:gd name="connsiteY0" fmla="*/ 0 h 4648200"/>
              <a:gd name="connsiteX1" fmla="*/ 4648200 w 4648200"/>
              <a:gd name="connsiteY1" fmla="*/ 0 h 4648200"/>
              <a:gd name="connsiteX2" fmla="*/ 4648200 w 4648200"/>
              <a:gd name="connsiteY2" fmla="*/ 4648200 h 4648200"/>
              <a:gd name="connsiteX3" fmla="*/ 0 w 4648200"/>
              <a:gd name="connsiteY3" fmla="*/ 4648200 h 4648200"/>
              <a:gd name="connsiteX4" fmla="*/ 0 w 4648200"/>
              <a:gd name="connsiteY4" fmla="*/ 4100528 h 4648200"/>
              <a:gd name="connsiteX5" fmla="*/ 58200 w 4648200"/>
              <a:gd name="connsiteY5" fmla="*/ 4121829 h 4648200"/>
              <a:gd name="connsiteX6" fmla="*/ 1038225 w 4648200"/>
              <a:gd name="connsiteY6" fmla="*/ 4269995 h 4648200"/>
              <a:gd name="connsiteX7" fmla="*/ 4333875 w 4648200"/>
              <a:gd name="connsiteY7" fmla="*/ 974345 h 4648200"/>
              <a:gd name="connsiteX8" fmla="*/ 4230119 w 4648200"/>
              <a:gd name="connsiteY8" fmla="*/ 150711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48200" h="4648200">
                <a:moveTo>
                  <a:pt x="4187322" y="0"/>
                </a:moveTo>
                <a:lnTo>
                  <a:pt x="4648200" y="0"/>
                </a:lnTo>
                <a:lnTo>
                  <a:pt x="4648200" y="4648200"/>
                </a:lnTo>
                <a:lnTo>
                  <a:pt x="0" y="4648200"/>
                </a:lnTo>
                <a:lnTo>
                  <a:pt x="0" y="4100528"/>
                </a:lnTo>
                <a:lnTo>
                  <a:pt x="58200" y="4121829"/>
                </a:lnTo>
                <a:cubicBezTo>
                  <a:pt x="367789" y="4218122"/>
                  <a:pt x="696949" y="4269995"/>
                  <a:pt x="1038225" y="4269995"/>
                </a:cubicBezTo>
                <a:cubicBezTo>
                  <a:pt x="2858362" y="4269995"/>
                  <a:pt x="4333875" y="2794482"/>
                  <a:pt x="4333875" y="974345"/>
                </a:cubicBezTo>
                <a:cubicBezTo>
                  <a:pt x="4333875" y="689949"/>
                  <a:pt x="4297852" y="413966"/>
                  <a:pt x="4230119" y="150711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44308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24D234C-A669-473F-AE86-3219849F71E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415" y="328269"/>
            <a:ext cx="2891641" cy="656973"/>
          </a:xfrm>
          <a:prstGeom prst="rect">
            <a:avLst/>
          </a:prstGeom>
        </p:spPr>
      </p:pic>
      <p:cxnSp>
        <p:nvCxnSpPr>
          <p:cNvPr id="19" name="Gerade Verbindung 5">
            <a:extLst>
              <a:ext uri="{FF2B5EF4-FFF2-40B4-BE49-F238E27FC236}">
                <a16:creationId xmlns:a16="http://schemas.microsoft.com/office/drawing/2014/main" id="{EED45FFF-C16F-4CCF-9797-B4F7EFA82DA6}"/>
              </a:ext>
            </a:extLst>
          </p:cNvPr>
          <p:cNvCxnSpPr/>
          <p:nvPr userDrawn="1"/>
        </p:nvCxnSpPr>
        <p:spPr>
          <a:xfrm flipH="1">
            <a:off x="6096000" y="3284985"/>
            <a:ext cx="5848615" cy="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ihandform 19">
            <a:extLst>
              <a:ext uri="{FF2B5EF4-FFF2-40B4-BE49-F238E27FC236}">
                <a16:creationId xmlns:a16="http://schemas.microsoft.com/office/drawing/2014/main" id="{07CC2253-A294-4DF0-8566-AC5B53CA0302}"/>
              </a:ext>
            </a:extLst>
          </p:cNvPr>
          <p:cNvSpPr/>
          <p:nvPr userDrawn="1"/>
        </p:nvSpPr>
        <p:spPr bwMode="auto">
          <a:xfrm>
            <a:off x="4194" y="0"/>
            <a:ext cx="5720862" cy="4648200"/>
          </a:xfrm>
          <a:custGeom>
            <a:avLst/>
            <a:gdLst>
              <a:gd name="connsiteX0" fmla="*/ 4187322 w 4648200"/>
              <a:gd name="connsiteY0" fmla="*/ 0 h 4648200"/>
              <a:gd name="connsiteX1" fmla="*/ 4648200 w 4648200"/>
              <a:gd name="connsiteY1" fmla="*/ 0 h 4648200"/>
              <a:gd name="connsiteX2" fmla="*/ 4648200 w 4648200"/>
              <a:gd name="connsiteY2" fmla="*/ 4648200 h 4648200"/>
              <a:gd name="connsiteX3" fmla="*/ 0 w 4648200"/>
              <a:gd name="connsiteY3" fmla="*/ 4648200 h 4648200"/>
              <a:gd name="connsiteX4" fmla="*/ 0 w 4648200"/>
              <a:gd name="connsiteY4" fmla="*/ 4100528 h 4648200"/>
              <a:gd name="connsiteX5" fmla="*/ 58200 w 4648200"/>
              <a:gd name="connsiteY5" fmla="*/ 4121829 h 4648200"/>
              <a:gd name="connsiteX6" fmla="*/ 1038225 w 4648200"/>
              <a:gd name="connsiteY6" fmla="*/ 4269995 h 4648200"/>
              <a:gd name="connsiteX7" fmla="*/ 4333875 w 4648200"/>
              <a:gd name="connsiteY7" fmla="*/ 974345 h 4648200"/>
              <a:gd name="connsiteX8" fmla="*/ 4230119 w 4648200"/>
              <a:gd name="connsiteY8" fmla="*/ 150711 h 464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48200" h="4648200">
                <a:moveTo>
                  <a:pt x="4187322" y="0"/>
                </a:moveTo>
                <a:lnTo>
                  <a:pt x="4648200" y="0"/>
                </a:lnTo>
                <a:lnTo>
                  <a:pt x="4648200" y="4648200"/>
                </a:lnTo>
                <a:lnTo>
                  <a:pt x="0" y="4648200"/>
                </a:lnTo>
                <a:lnTo>
                  <a:pt x="0" y="4100528"/>
                </a:lnTo>
                <a:lnTo>
                  <a:pt x="58200" y="4121829"/>
                </a:lnTo>
                <a:cubicBezTo>
                  <a:pt x="367789" y="4218122"/>
                  <a:pt x="696949" y="4269995"/>
                  <a:pt x="1038225" y="4269995"/>
                </a:cubicBezTo>
                <a:cubicBezTo>
                  <a:pt x="2858362" y="4269995"/>
                  <a:pt x="4333875" y="2794482"/>
                  <a:pt x="4333875" y="974345"/>
                </a:cubicBezTo>
                <a:cubicBezTo>
                  <a:pt x="4333875" y="689949"/>
                  <a:pt x="4297852" y="413966"/>
                  <a:pt x="4230119" y="150711"/>
                </a:cubicBezTo>
                <a:close/>
              </a:path>
            </a:pathLst>
          </a:custGeom>
          <a:solidFill>
            <a:schemeClr val="bg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44308" tIns="44308" rIns="44308" bIns="443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9018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WK Zwischen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47526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2987432" y="293689"/>
            <a:ext cx="8678985" cy="1421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1271" tIns="56614" rIns="111271" bIns="56614">
            <a:spAutoFit/>
          </a:bodyPr>
          <a:lstStyle/>
          <a:p>
            <a:pPr algn="l" defTabSz="928101" eaLnBrk="0" hangingPunct="0">
              <a:defRPr/>
            </a:pPr>
            <a:endParaRPr lang="de-CH" sz="2831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928101" eaLnBrk="0" hangingPunct="0">
              <a:defRPr/>
            </a:pPr>
            <a:endParaRPr lang="de-CH" sz="2831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928101" eaLnBrk="0" hangingPunct="0">
              <a:defRPr/>
            </a:pPr>
            <a:endParaRPr lang="de-CH" sz="2831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</p:txBody>
      </p:sp>
      <p:cxnSp>
        <p:nvCxnSpPr>
          <p:cNvPr id="10" name="Gerade Verbindung 5"/>
          <p:cNvCxnSpPr/>
          <p:nvPr/>
        </p:nvCxnSpPr>
        <p:spPr>
          <a:xfrm>
            <a:off x="777631" y="2132856"/>
            <a:ext cx="10888785" cy="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6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77631" y="224644"/>
            <a:ext cx="11168185" cy="1755576"/>
          </a:xfrm>
          <a:noFill/>
        </p:spPr>
        <p:txBody>
          <a:bodyPr anchor="b"/>
          <a:lstStyle>
            <a:lvl1pPr>
              <a:defRPr sz="2400" b="1" noProof="1">
                <a:solidFill>
                  <a:srgbClr val="336483"/>
                </a:solidFill>
                <a:latin typeface="+mj-lt"/>
              </a:defRPr>
            </a:lvl1pPr>
          </a:lstStyle>
          <a:p>
            <a:r>
              <a:rPr lang="de-CH" noProof="1"/>
              <a:t>Optionaler Obertitel in grün</a:t>
            </a:r>
            <a:br>
              <a:rPr lang="de-CH" noProof="1"/>
            </a:br>
            <a:r>
              <a:rPr lang="de-CH" noProof="1"/>
              <a:t>Titel in blau</a:t>
            </a:r>
          </a:p>
        </p:txBody>
      </p:sp>
      <p:sp>
        <p:nvSpPr>
          <p:cNvPr id="12" name="Rectangle 27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777631" y="2348880"/>
            <a:ext cx="11168185" cy="2376264"/>
          </a:xfrm>
          <a:noFill/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FontTx/>
              <a:buNone/>
              <a:tabLst>
                <a:tab pos="701449" algn="l"/>
                <a:tab pos="2694422" algn="l"/>
                <a:tab pos="4568207" algn="l"/>
                <a:tab pos="6447854" algn="l"/>
                <a:tab pos="9716720" algn="r"/>
              </a:tabLst>
              <a:defRPr sz="1400" b="0" baseline="0" noProof="1">
                <a:solidFill>
                  <a:schemeClr val="tx1"/>
                </a:solidFill>
                <a:latin typeface="+mn-lt"/>
              </a:defRPr>
            </a:lvl1pPr>
            <a:lvl2pPr marL="420934" indent="-420934">
              <a:defRPr sz="1969">
                <a:solidFill>
                  <a:schemeClr val="tx1"/>
                </a:solidFill>
              </a:defRPr>
            </a:lvl2pPr>
            <a:lvl3pPr>
              <a:defRPr/>
            </a:lvl3pPr>
          </a:lstStyle>
          <a:p>
            <a:pPr lvl="0"/>
            <a:r>
              <a:rPr lang="de-DE" noProof="1"/>
              <a:t>Master-Untertitelformat bearbeiten</a:t>
            </a:r>
            <a:endParaRPr lang="de-CH" noProof="1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" y="4783470"/>
            <a:ext cx="12192000" cy="2079340"/>
          </a:xfrm>
          <a:prstGeom prst="rect">
            <a:avLst/>
          </a:prstGeom>
        </p:spPr>
      </p:pic>
      <p:cxnSp>
        <p:nvCxnSpPr>
          <p:cNvPr id="13" name="Gerade Verbindung 5"/>
          <p:cNvCxnSpPr/>
          <p:nvPr/>
        </p:nvCxnSpPr>
        <p:spPr>
          <a:xfrm>
            <a:off x="777631" y="2132856"/>
            <a:ext cx="11165538" cy="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5"/>
          <p:cNvCxnSpPr/>
          <p:nvPr/>
        </p:nvCxnSpPr>
        <p:spPr>
          <a:xfrm>
            <a:off x="777631" y="2132856"/>
            <a:ext cx="11165538" cy="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5">
            <a:extLst>
              <a:ext uri="{FF2B5EF4-FFF2-40B4-BE49-F238E27FC236}">
                <a16:creationId xmlns:a16="http://schemas.microsoft.com/office/drawing/2014/main" id="{F4611272-4495-4340-9DC6-CD665E67292D}"/>
              </a:ext>
            </a:extLst>
          </p:cNvPr>
          <p:cNvCxnSpPr/>
          <p:nvPr/>
        </p:nvCxnSpPr>
        <p:spPr>
          <a:xfrm>
            <a:off x="777631" y="2132856"/>
            <a:ext cx="11165538" cy="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5">
            <a:extLst>
              <a:ext uri="{FF2B5EF4-FFF2-40B4-BE49-F238E27FC236}">
                <a16:creationId xmlns:a16="http://schemas.microsoft.com/office/drawing/2014/main" id="{2C901B52-51D3-4812-8846-5C7F300DDE98}"/>
              </a:ext>
            </a:extLst>
          </p:cNvPr>
          <p:cNvCxnSpPr/>
          <p:nvPr/>
        </p:nvCxnSpPr>
        <p:spPr>
          <a:xfrm>
            <a:off x="777631" y="2132856"/>
            <a:ext cx="11165538" cy="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5">
            <a:extLst>
              <a:ext uri="{FF2B5EF4-FFF2-40B4-BE49-F238E27FC236}">
                <a16:creationId xmlns:a16="http://schemas.microsoft.com/office/drawing/2014/main" id="{0220F6B9-ADEA-4520-A07D-C90B4622ECDF}"/>
              </a:ext>
            </a:extLst>
          </p:cNvPr>
          <p:cNvCxnSpPr/>
          <p:nvPr userDrawn="1"/>
        </p:nvCxnSpPr>
        <p:spPr>
          <a:xfrm>
            <a:off x="777631" y="2132856"/>
            <a:ext cx="11165538" cy="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827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253" userDrawn="1">
          <p15:clr>
            <a:srgbClr val="FBAE40"/>
          </p15:clr>
        </p15:guide>
        <p15:guide id="7" orient="horz" pos="14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WK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36483"/>
                </a:solidFill>
              </a:defRPr>
            </a:lvl1pPr>
          </a:lstStyle>
          <a:p>
            <a:pPr lvl="0"/>
            <a:r>
              <a:rPr lang="de-CH" noProof="0" dirty="0"/>
              <a:t>Folientitel / Messag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1"/>
          </p:nvPr>
        </p:nvSpPr>
        <p:spPr>
          <a:xfrm>
            <a:off x="777631" y="1125539"/>
            <a:ext cx="11168185" cy="52557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57273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WK ohne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274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7" imgW="344" imgH="344" progId="TCLayout.ActiveDocument.1">
                  <p:embed/>
                </p:oleObj>
              </mc:Choice>
              <mc:Fallback>
                <p:oleObj name="think-cell Folie" r:id="rId7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F53655-C0E2-4663-B1F6-225C4287C567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36483"/>
                </a:solidFill>
              </a:defRPr>
            </a:lvl1pPr>
          </a:lstStyle>
          <a:p>
            <a:pPr lvl="0"/>
            <a:r>
              <a:rPr lang="de-CH" noProof="0" dirty="0"/>
              <a:t>Folientitel / Message</a:t>
            </a: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B99C8C4-A0DF-41F3-8AB3-2865D626143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28375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9" imgW="344" imgH="344" progId="TCLayout.ActiveDocument.1">
                  <p:embed/>
                </p:oleObj>
              </mc:Choice>
              <mc:Fallback>
                <p:oleObj name="think-cell Folie" r:id="rId9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B99C8C4-A0DF-41F3-8AB3-2865D6261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787D71D-E783-4580-AC96-3CC774896E1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26920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10" imgW="344" imgH="344" progId="TCLayout.ActiveDocument.1">
                  <p:embed/>
                </p:oleObj>
              </mc:Choice>
              <mc:Fallback>
                <p:oleObj name="think-cell Folie" r:id="rId10" imgW="344" imgH="34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787D71D-E783-4580-AC96-3CC774896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E4C5CD1-07D9-41B9-B8A4-08A39A2759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7257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E4C5CD1-07D9-41B9-B8A4-08A39A275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3315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WK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09196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E8A237-99B3-4897-960D-9D65003BF3F7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10438637" y="6489340"/>
            <a:ext cx="1507179" cy="36866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8A237-99B3-4897-960D-9D65003BF3F7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15023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WK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8365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77631" y="138260"/>
            <a:ext cx="11168185" cy="230400"/>
          </a:xfrm>
          <a:noFill/>
        </p:spPr>
        <p:txBody>
          <a:bodyPr wrap="square" tIns="0" bIns="0" anchor="ctr" anchorCtr="0">
            <a:noAutofit/>
          </a:bodyPr>
          <a:lstStyle>
            <a:lvl1pPr marL="0" indent="0" algn="l" defTabSz="93787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8499443" algn="r"/>
                <a:tab pos="11146972" algn="r"/>
              </a:tabLst>
              <a:defRPr lang="de-DE" sz="1400" b="1" noProof="0" dirty="0" smtClean="0">
                <a:solidFill>
                  <a:srgbClr val="B3CA2C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CH" noProof="0" dirty="0"/>
              <a:t>Rubrik / Kapitel</a:t>
            </a:r>
          </a:p>
        </p:txBody>
      </p:sp>
      <p:sp>
        <p:nvSpPr>
          <p:cNvPr id="7" name="Foliennummernplatzhalter 71"/>
          <p:cNvSpPr>
            <a:spLocks noGrp="1"/>
          </p:cNvSpPr>
          <p:nvPr>
            <p:ph type="sldNum" sz="quarter" idx="10"/>
          </p:nvPr>
        </p:nvSpPr>
        <p:spPr>
          <a:xfrm>
            <a:off x="10438637" y="6489340"/>
            <a:ext cx="1507179" cy="36866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777631" y="419412"/>
            <a:ext cx="11168185" cy="396000"/>
          </a:xfrm>
        </p:spPr>
        <p:txBody>
          <a:bodyPr wrap="square">
            <a:normAutofit/>
          </a:bodyPr>
          <a:lstStyle>
            <a:lvl1pPr>
              <a:lnSpc>
                <a:spcPts val="2215"/>
              </a:lnSpc>
              <a:defRPr sz="2000" b="1">
                <a:solidFill>
                  <a:srgbClr val="336483"/>
                </a:solidFill>
              </a:defRPr>
            </a:lvl1pPr>
          </a:lstStyle>
          <a:p>
            <a:r>
              <a:rPr lang="de-CH" noProof="0" dirty="0"/>
              <a:t>Folientitel / Message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1"/>
          </p:nvPr>
        </p:nvSpPr>
        <p:spPr>
          <a:xfrm>
            <a:off x="777631" y="1125539"/>
            <a:ext cx="11168185" cy="52557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304223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WK Rubrik ohne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28981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71"/>
          <p:cNvSpPr>
            <a:spLocks noGrp="1"/>
          </p:cNvSpPr>
          <p:nvPr>
            <p:ph type="sldNum" sz="quarter" idx="10"/>
          </p:nvPr>
        </p:nvSpPr>
        <p:spPr>
          <a:xfrm>
            <a:off x="10438637" y="6489340"/>
            <a:ext cx="1507179" cy="36866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77631" y="138260"/>
            <a:ext cx="11168185" cy="230400"/>
          </a:xfrm>
          <a:noFill/>
        </p:spPr>
        <p:txBody>
          <a:bodyPr wrap="square" tIns="0" bIns="0" anchor="ctr" anchorCtr="0">
            <a:noAutofit/>
          </a:bodyPr>
          <a:lstStyle>
            <a:lvl1pPr marL="0" indent="0" algn="l" defTabSz="93787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8499443" algn="r"/>
                <a:tab pos="11146972" algn="r"/>
              </a:tabLst>
              <a:defRPr lang="de-DE" sz="1400" b="1" noProof="0" dirty="0" smtClean="0">
                <a:solidFill>
                  <a:srgbClr val="B3CA2C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CH" noProof="0" dirty="0"/>
              <a:t>Rubrik / Kapitel</a:t>
            </a:r>
          </a:p>
        </p:txBody>
      </p:sp>
      <p:sp>
        <p:nvSpPr>
          <p:cNvPr id="11" name="Titel 5"/>
          <p:cNvSpPr>
            <a:spLocks noGrp="1"/>
          </p:cNvSpPr>
          <p:nvPr>
            <p:ph type="title" hasCustomPrompt="1"/>
          </p:nvPr>
        </p:nvSpPr>
        <p:spPr>
          <a:xfrm>
            <a:off x="777631" y="419412"/>
            <a:ext cx="11168185" cy="396000"/>
          </a:xfrm>
        </p:spPr>
        <p:txBody>
          <a:bodyPr wrap="square">
            <a:normAutofit/>
          </a:bodyPr>
          <a:lstStyle>
            <a:lvl1pPr>
              <a:lnSpc>
                <a:spcPts val="2215"/>
              </a:lnSpc>
              <a:defRPr sz="2000" b="1">
                <a:solidFill>
                  <a:srgbClr val="336483"/>
                </a:solidFill>
              </a:defRPr>
            </a:lvl1pPr>
          </a:lstStyle>
          <a:p>
            <a:r>
              <a:rPr lang="de-CH" noProof="0" dirty="0"/>
              <a:t>Folientitel / Message</a:t>
            </a:r>
          </a:p>
        </p:txBody>
      </p:sp>
    </p:spTree>
    <p:extLst>
      <p:ext uri="{BB962C8B-B14F-4D97-AF65-F5344CB8AC3E}">
        <p14:creationId xmlns:p14="http://schemas.microsoft.com/office/powerpoint/2010/main" val="12446496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WK Rubrik mit 2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55222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71"/>
          <p:cNvSpPr>
            <a:spLocks noGrp="1"/>
          </p:cNvSpPr>
          <p:nvPr>
            <p:ph type="sldNum" sz="quarter" idx="10"/>
          </p:nvPr>
        </p:nvSpPr>
        <p:spPr>
          <a:xfrm>
            <a:off x="10438637" y="6489340"/>
            <a:ext cx="1507179" cy="36866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8" name="Inhaltsplatzhalter 6"/>
          <p:cNvSpPr>
            <a:spLocks noGrp="1"/>
          </p:cNvSpPr>
          <p:nvPr>
            <p:ph sz="quarter" idx="11"/>
          </p:nvPr>
        </p:nvSpPr>
        <p:spPr>
          <a:xfrm>
            <a:off x="777631" y="1125539"/>
            <a:ext cx="5316923" cy="52560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Inhaltsplatzhalter 6"/>
          <p:cNvSpPr>
            <a:spLocks noGrp="1"/>
          </p:cNvSpPr>
          <p:nvPr>
            <p:ph sz="quarter" idx="13"/>
          </p:nvPr>
        </p:nvSpPr>
        <p:spPr>
          <a:xfrm>
            <a:off x="6628342" y="1125010"/>
            <a:ext cx="5316923" cy="525653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777631" y="138260"/>
            <a:ext cx="11168185" cy="230400"/>
          </a:xfrm>
          <a:noFill/>
        </p:spPr>
        <p:txBody>
          <a:bodyPr wrap="square" tIns="0" bIns="0" anchor="ctr" anchorCtr="0">
            <a:noAutofit/>
          </a:bodyPr>
          <a:lstStyle>
            <a:lvl1pPr marL="0" indent="0" algn="l" defTabSz="93787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8499443" algn="r"/>
                <a:tab pos="11146972" algn="r"/>
              </a:tabLst>
              <a:defRPr lang="de-DE" sz="1400" b="1" noProof="0" dirty="0" smtClean="0">
                <a:solidFill>
                  <a:srgbClr val="B3CA2C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CH" noProof="0" dirty="0"/>
              <a:t>Rubrik / Kapitel</a:t>
            </a:r>
          </a:p>
        </p:txBody>
      </p:sp>
      <p:sp>
        <p:nvSpPr>
          <p:cNvPr id="13" name="Titel 5"/>
          <p:cNvSpPr>
            <a:spLocks noGrp="1"/>
          </p:cNvSpPr>
          <p:nvPr>
            <p:ph type="title" hasCustomPrompt="1"/>
          </p:nvPr>
        </p:nvSpPr>
        <p:spPr>
          <a:xfrm>
            <a:off x="777631" y="419412"/>
            <a:ext cx="11168185" cy="396000"/>
          </a:xfrm>
        </p:spPr>
        <p:txBody>
          <a:bodyPr wrap="square">
            <a:normAutofit/>
          </a:bodyPr>
          <a:lstStyle>
            <a:lvl1pPr>
              <a:lnSpc>
                <a:spcPts val="2215"/>
              </a:lnSpc>
              <a:defRPr sz="2000" b="1">
                <a:solidFill>
                  <a:srgbClr val="336483"/>
                </a:solidFill>
              </a:defRPr>
            </a:lvl1pPr>
          </a:lstStyle>
          <a:p>
            <a:r>
              <a:rPr lang="de-CH" noProof="0" dirty="0"/>
              <a:t>Folientitel / Message</a:t>
            </a:r>
          </a:p>
        </p:txBody>
      </p:sp>
    </p:spTree>
    <p:extLst>
      <p:ext uri="{BB962C8B-B14F-4D97-AF65-F5344CB8AC3E}">
        <p14:creationId xmlns:p14="http://schemas.microsoft.com/office/powerpoint/2010/main" val="3322493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25731195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9" name="Rectangle 45"/>
          <p:cNvSpPr>
            <a:spLocks noChangeArrowheads="1"/>
          </p:cNvSpPr>
          <p:nvPr/>
        </p:nvSpPr>
        <p:spPr bwMode="auto">
          <a:xfrm>
            <a:off x="0" y="0"/>
            <a:ext cx="12192000" cy="101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66462" tIns="57600" rIns="66462" bIns="57600" anchor="ctr"/>
          <a:lstStyle/>
          <a:p>
            <a:pPr eaLnBrk="0" hangingPunct="0">
              <a:defRPr/>
            </a:pPr>
            <a:endParaRPr lang="de-CH" sz="1969" dirty="0">
              <a:solidFill>
                <a:schemeClr val="tx1"/>
              </a:solidFill>
              <a:latin typeface="Arial" pitchFamily="34" charset="0"/>
              <a:cs typeface="+mn-cs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777631" y="156917"/>
            <a:ext cx="11168185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 dirty="0"/>
              <a:t>Klicken Sie, um das</a:t>
            </a:r>
            <a:br>
              <a:rPr lang="de-CH" dirty="0"/>
            </a:br>
            <a:r>
              <a:rPr lang="de-CH" dirty="0"/>
              <a:t>Titelformat zu bearbeiten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77631" y="1125538"/>
            <a:ext cx="11168185" cy="525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CH" dirty="0"/>
              <a:t>Untertitel</a:t>
            </a:r>
          </a:p>
          <a:p>
            <a:pPr lvl="1"/>
            <a:r>
              <a:rPr lang="de-CH" dirty="0"/>
              <a:t>Zweite Ebene 2</a:t>
            </a:r>
          </a:p>
          <a:p>
            <a:pPr lvl="2"/>
            <a:r>
              <a:rPr lang="de-CH" dirty="0"/>
              <a:t>Dritte Ebene 3</a:t>
            </a:r>
          </a:p>
          <a:p>
            <a:pPr lvl="3"/>
            <a:r>
              <a:rPr lang="de-CH" dirty="0"/>
              <a:t>Vierte Ebene</a:t>
            </a:r>
          </a:p>
        </p:txBody>
      </p:sp>
      <p:sp>
        <p:nvSpPr>
          <p:cNvPr id="72" name="Foliennummernplatzhalter 71"/>
          <p:cNvSpPr>
            <a:spLocks noGrp="1"/>
          </p:cNvSpPr>
          <p:nvPr>
            <p:ph type="sldNum" sz="quarter" idx="4"/>
          </p:nvPr>
        </p:nvSpPr>
        <p:spPr>
          <a:xfrm>
            <a:off x="10438637" y="6489340"/>
            <a:ext cx="1507179" cy="368660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lvl1pPr algn="r"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84C0685A-BFD7-49AD-90B6-AAA77B824228}" type="slidenum">
              <a:rPr lang="de-CH" smtClean="0"/>
              <a:pPr>
                <a:defRPr/>
              </a:pPr>
              <a:t>‹Nr.›</a:t>
            </a:fld>
            <a:endParaRPr lang="de-CH" dirty="0"/>
          </a:p>
        </p:txBody>
      </p:sp>
      <p:cxnSp>
        <p:nvCxnSpPr>
          <p:cNvPr id="4" name="Gerader Verbinder 3"/>
          <p:cNvCxnSpPr/>
          <p:nvPr/>
        </p:nvCxnSpPr>
        <p:spPr bwMode="auto">
          <a:xfrm flipH="1">
            <a:off x="777631" y="872716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0" name="Gerader Verbinder 9"/>
          <p:cNvCxnSpPr/>
          <p:nvPr/>
        </p:nvCxnSpPr>
        <p:spPr bwMode="auto">
          <a:xfrm flipH="1">
            <a:off x="777631" y="6489340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1" name="Gerader Verbinder 10"/>
          <p:cNvCxnSpPr/>
          <p:nvPr/>
        </p:nvCxnSpPr>
        <p:spPr bwMode="auto">
          <a:xfrm flipH="1">
            <a:off x="777631" y="872716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2" name="Gerader Verbinder 11"/>
          <p:cNvCxnSpPr/>
          <p:nvPr/>
        </p:nvCxnSpPr>
        <p:spPr bwMode="auto">
          <a:xfrm flipH="1">
            <a:off x="777631" y="6489340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3" name="Gerader Verbinder 12"/>
          <p:cNvCxnSpPr/>
          <p:nvPr/>
        </p:nvCxnSpPr>
        <p:spPr bwMode="auto">
          <a:xfrm flipH="1">
            <a:off x="777631" y="872716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4" name="Gerader Verbinder 13"/>
          <p:cNvCxnSpPr/>
          <p:nvPr/>
        </p:nvCxnSpPr>
        <p:spPr bwMode="auto">
          <a:xfrm flipH="1">
            <a:off x="777631" y="6489340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7A9FB9C-4676-4DB0-81BB-43C6B1BAFC46}"/>
              </a:ext>
            </a:extLst>
          </p:cNvPr>
          <p:cNvCxnSpPr/>
          <p:nvPr/>
        </p:nvCxnSpPr>
        <p:spPr bwMode="auto">
          <a:xfrm flipH="1">
            <a:off x="777631" y="872716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7ECB853-4D6A-4A43-B2CE-699C79EE79DF}"/>
              </a:ext>
            </a:extLst>
          </p:cNvPr>
          <p:cNvCxnSpPr/>
          <p:nvPr/>
        </p:nvCxnSpPr>
        <p:spPr bwMode="auto">
          <a:xfrm flipH="1">
            <a:off x="777631" y="6489340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986585F-53FA-46B3-85FF-B3E36F404ADD}"/>
              </a:ext>
            </a:extLst>
          </p:cNvPr>
          <p:cNvCxnSpPr/>
          <p:nvPr/>
        </p:nvCxnSpPr>
        <p:spPr bwMode="auto">
          <a:xfrm flipH="1">
            <a:off x="777631" y="872716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BB61687C-5151-413D-B2E3-AB1BBF0418C4}"/>
              </a:ext>
            </a:extLst>
          </p:cNvPr>
          <p:cNvCxnSpPr/>
          <p:nvPr/>
        </p:nvCxnSpPr>
        <p:spPr bwMode="auto">
          <a:xfrm flipH="1">
            <a:off x="777631" y="6489340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8E26D773-585C-467D-9E98-43E4BA3EC0C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268" y="6524873"/>
            <a:ext cx="1154108" cy="262223"/>
          </a:xfrm>
          <a:prstGeom prst="rect">
            <a:avLst/>
          </a:prstGeom>
        </p:spPr>
      </p:pic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2FC7B0C-0F57-4D23-8F81-3140EB08EFD5}"/>
              </a:ext>
            </a:extLst>
          </p:cNvPr>
          <p:cNvCxnSpPr/>
          <p:nvPr userDrawn="1"/>
        </p:nvCxnSpPr>
        <p:spPr bwMode="auto">
          <a:xfrm flipH="1">
            <a:off x="777631" y="872716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CE85452-5FE1-4196-96C7-188140700BF8}"/>
              </a:ext>
            </a:extLst>
          </p:cNvPr>
          <p:cNvCxnSpPr/>
          <p:nvPr userDrawn="1"/>
        </p:nvCxnSpPr>
        <p:spPr bwMode="auto">
          <a:xfrm flipH="1">
            <a:off x="777631" y="6489340"/>
            <a:ext cx="11168185" cy="0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2335367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</p:sldLayoutIdLst>
  <p:hf hdr="0" ftr="0" dt="0"/>
  <p:txStyles>
    <p:titleStyle>
      <a:lvl1pPr algn="l" defTabSz="937870" rtl="0" eaLnBrk="1" fontAlgn="base" hangingPunct="1">
        <a:lnSpc>
          <a:spcPct val="100000"/>
        </a:lnSpc>
        <a:spcBef>
          <a:spcPct val="0"/>
        </a:spcBef>
        <a:spcAft>
          <a:spcPct val="0"/>
        </a:spcAft>
        <a:tabLst>
          <a:tab pos="11146972" algn="r"/>
        </a:tabLst>
        <a:defRPr sz="2000" b="1">
          <a:solidFill>
            <a:srgbClr val="336483"/>
          </a:solidFill>
          <a:latin typeface="+mj-lt"/>
          <a:ea typeface="+mj-ea"/>
          <a:cs typeface="+mj-cs"/>
        </a:defRPr>
      </a:lvl1pPr>
      <a:lvl2pPr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79245" algn="r"/>
        </a:tabLst>
        <a:defRPr sz="2954" b="1">
          <a:solidFill>
            <a:schemeClr val="bg1"/>
          </a:solidFill>
          <a:latin typeface="Arial" charset="0"/>
        </a:defRPr>
      </a:lvl2pPr>
      <a:lvl3pPr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79245" algn="r"/>
        </a:tabLst>
        <a:defRPr sz="2954" b="1">
          <a:solidFill>
            <a:schemeClr val="bg1"/>
          </a:solidFill>
          <a:latin typeface="Arial" charset="0"/>
        </a:defRPr>
      </a:lvl3pPr>
      <a:lvl4pPr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79245" algn="r"/>
        </a:tabLst>
        <a:defRPr sz="2954" b="1">
          <a:solidFill>
            <a:schemeClr val="bg1"/>
          </a:solidFill>
          <a:latin typeface="Arial" charset="0"/>
        </a:defRPr>
      </a:lvl4pPr>
      <a:lvl5pPr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79245" algn="r"/>
        </a:tabLst>
        <a:defRPr sz="2954" b="1">
          <a:solidFill>
            <a:schemeClr val="bg1"/>
          </a:solidFill>
          <a:latin typeface="Arial" charset="0"/>
        </a:defRPr>
      </a:lvl5pPr>
      <a:lvl6pPr marL="562722"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34305" algn="r"/>
        </a:tabLst>
        <a:defRPr sz="3446" b="1">
          <a:solidFill>
            <a:schemeClr val="bg1"/>
          </a:solidFill>
          <a:latin typeface="21 Futura Lt" pitchFamily="2" charset="0"/>
        </a:defRPr>
      </a:lvl6pPr>
      <a:lvl7pPr marL="1125444"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34305" algn="r"/>
        </a:tabLst>
        <a:defRPr sz="3446" b="1">
          <a:solidFill>
            <a:schemeClr val="bg1"/>
          </a:solidFill>
          <a:latin typeface="21 Futura Lt" pitchFamily="2" charset="0"/>
        </a:defRPr>
      </a:lvl7pPr>
      <a:lvl8pPr marL="1688165"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34305" algn="r"/>
        </a:tabLst>
        <a:defRPr sz="3446" b="1">
          <a:solidFill>
            <a:schemeClr val="bg1"/>
          </a:solidFill>
          <a:latin typeface="21 Futura Lt" pitchFamily="2" charset="0"/>
        </a:defRPr>
      </a:lvl8pPr>
      <a:lvl9pPr marL="2250887" algn="l" defTabSz="93787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9734305" algn="r"/>
        </a:tabLst>
        <a:defRPr sz="3446" b="1">
          <a:solidFill>
            <a:schemeClr val="bg1"/>
          </a:solidFill>
          <a:latin typeface="21 Futura Lt" pitchFamily="2" charset="0"/>
        </a:defRPr>
      </a:lvl9pPr>
    </p:titleStyle>
    <p:bodyStyle>
      <a:lvl1pPr marL="0" indent="0" algn="l" defTabSz="937870" rtl="0" eaLnBrk="1" fontAlgn="base" hangingPunct="1">
        <a:spcBef>
          <a:spcPts val="1800"/>
        </a:spcBef>
        <a:spcAft>
          <a:spcPct val="0"/>
        </a:spcAft>
        <a:buSzPct val="100000"/>
        <a:buFont typeface="+mj-lt"/>
        <a:buNone/>
        <a:tabLst>
          <a:tab pos="11146972" algn="r"/>
        </a:tabLst>
        <a:defRPr sz="1800" b="1">
          <a:solidFill>
            <a:srgbClr val="336483"/>
          </a:solidFill>
          <a:latin typeface="+mn-lt"/>
          <a:ea typeface="+mn-ea"/>
          <a:cs typeface="+mn-cs"/>
        </a:defRPr>
      </a:lvl1pPr>
      <a:lvl2pPr marL="342000" indent="-342000" algn="l" defTabSz="937870" rtl="0" eaLnBrk="1" fontAlgn="base" hangingPunct="1">
        <a:spcBef>
          <a:spcPts val="900"/>
        </a:spcBef>
        <a:spcAft>
          <a:spcPct val="0"/>
        </a:spcAft>
        <a:buClr>
          <a:srgbClr val="B3CA2C"/>
        </a:buClr>
        <a:buSzPct val="110000"/>
        <a:buFont typeface="Arial" panose="020B0604020202020204" pitchFamily="34" charset="0"/>
        <a:buChar char="●"/>
        <a:tabLst>
          <a:tab pos="11146972" algn="r"/>
        </a:tabLst>
        <a:defRPr lang="de-CH" sz="18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342000" algn="l" defTabSz="937870" rtl="0" eaLnBrk="1" fontAlgn="base" hangingPunct="1">
        <a:spcBef>
          <a:spcPts val="700"/>
        </a:spcBef>
        <a:spcAft>
          <a:spcPct val="0"/>
        </a:spcAft>
        <a:buClr>
          <a:srgbClr val="B3CA2C"/>
        </a:buClr>
        <a:buSzPct val="110000"/>
        <a:buFont typeface="Arial" panose="020B0604020202020204" pitchFamily="34" charset="0"/>
        <a:buChar char="─"/>
        <a:tabLst>
          <a:tab pos="11146972" algn="r"/>
        </a:tabLst>
        <a:defRPr sz="1600">
          <a:solidFill>
            <a:schemeClr val="tx1"/>
          </a:solidFill>
          <a:latin typeface="+mn-lt"/>
        </a:defRPr>
      </a:lvl3pPr>
      <a:lvl4pPr marL="1026000" indent="-342000" algn="l" defTabSz="937870" rtl="0" eaLnBrk="1" fontAlgn="base" hangingPunct="1">
        <a:spcBef>
          <a:spcPts val="400"/>
        </a:spcBef>
        <a:spcAft>
          <a:spcPct val="0"/>
        </a:spcAft>
        <a:buClr>
          <a:srgbClr val="B3CA2C"/>
        </a:buClr>
        <a:buSzPct val="100000"/>
        <a:buFont typeface="Arial" panose="020B0604020202020204" pitchFamily="34" charset="0"/>
        <a:buChar char="►"/>
        <a:tabLst>
          <a:tab pos="9677643" algn="r"/>
        </a:tabLst>
        <a:defRPr sz="1400">
          <a:solidFill>
            <a:schemeClr val="tx1"/>
          </a:solidFill>
          <a:latin typeface="+mn-lt"/>
        </a:defRPr>
      </a:lvl4pPr>
      <a:lvl5pPr marL="2196178" indent="-422041" algn="l" defTabSz="937870" rtl="0" eaLnBrk="1" fontAlgn="base" hangingPunct="1">
        <a:spcBef>
          <a:spcPct val="40000"/>
        </a:spcBef>
        <a:spcAft>
          <a:spcPct val="0"/>
        </a:spcAft>
        <a:buChar char="–"/>
        <a:tabLst>
          <a:tab pos="9677643" algn="r"/>
        </a:tabLst>
        <a:defRPr sz="2462">
          <a:solidFill>
            <a:schemeClr val="tx1"/>
          </a:solidFill>
          <a:latin typeface="+mn-lt"/>
        </a:defRPr>
      </a:lvl5pPr>
      <a:lvl6pPr marL="2758900" indent="-422041" algn="l" defTabSz="937870" rtl="0" eaLnBrk="1" fontAlgn="base" hangingPunct="1">
        <a:spcBef>
          <a:spcPct val="40000"/>
        </a:spcBef>
        <a:spcAft>
          <a:spcPct val="0"/>
        </a:spcAft>
        <a:buChar char="–"/>
        <a:tabLst>
          <a:tab pos="9677643" algn="r"/>
        </a:tabLst>
        <a:defRPr sz="2462">
          <a:solidFill>
            <a:schemeClr val="tx1"/>
          </a:solidFill>
          <a:latin typeface="+mn-lt"/>
        </a:defRPr>
      </a:lvl6pPr>
      <a:lvl7pPr marL="3321622" indent="-422041" algn="l" defTabSz="937870" rtl="0" eaLnBrk="1" fontAlgn="base" hangingPunct="1">
        <a:spcBef>
          <a:spcPct val="40000"/>
        </a:spcBef>
        <a:spcAft>
          <a:spcPct val="0"/>
        </a:spcAft>
        <a:buChar char="–"/>
        <a:tabLst>
          <a:tab pos="9677643" algn="r"/>
        </a:tabLst>
        <a:defRPr sz="2462">
          <a:solidFill>
            <a:schemeClr val="tx1"/>
          </a:solidFill>
          <a:latin typeface="+mn-lt"/>
        </a:defRPr>
      </a:lvl7pPr>
      <a:lvl8pPr marL="3884343" indent="-422041" algn="l" defTabSz="937870" rtl="0" eaLnBrk="1" fontAlgn="base" hangingPunct="1">
        <a:spcBef>
          <a:spcPct val="40000"/>
        </a:spcBef>
        <a:spcAft>
          <a:spcPct val="0"/>
        </a:spcAft>
        <a:buChar char="–"/>
        <a:tabLst>
          <a:tab pos="9677643" algn="r"/>
        </a:tabLst>
        <a:defRPr sz="2462">
          <a:solidFill>
            <a:schemeClr val="tx1"/>
          </a:solidFill>
          <a:latin typeface="+mn-lt"/>
        </a:defRPr>
      </a:lvl8pPr>
      <a:lvl9pPr marL="4447065" indent="-422041" algn="l" defTabSz="937870" rtl="0" eaLnBrk="1" fontAlgn="base" hangingPunct="1">
        <a:spcBef>
          <a:spcPct val="40000"/>
        </a:spcBef>
        <a:spcAft>
          <a:spcPct val="0"/>
        </a:spcAft>
        <a:buChar char="–"/>
        <a:tabLst>
          <a:tab pos="9677643" algn="r"/>
        </a:tabLst>
        <a:defRPr sz="2462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2" pos="490" userDrawn="1">
          <p15:clr>
            <a:srgbClr val="F26B43"/>
          </p15:clr>
        </p15:guide>
        <p15:guide id="13" pos="7525" userDrawn="1">
          <p15:clr>
            <a:srgbClr val="F26B43"/>
          </p15:clr>
        </p15:guide>
        <p15:guide id="14" orient="horz" pos="709" userDrawn="1">
          <p15:clr>
            <a:srgbClr val="F26B43"/>
          </p15:clr>
        </p15:guide>
        <p15:guide id="15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868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AD8765C-C994-49AF-AE46-1D717738472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49538" name="Rectangle 2"/>
          <p:cNvSpPr>
            <a:spLocks noGrp="1" noChangeArrowheads="1"/>
          </p:cNvSpPr>
          <p:nvPr>
            <p:ph type="ctrTitle" sz="quarter"/>
          </p:nvPr>
        </p:nvSpPr>
        <p:spPr/>
        <p:txBody>
          <a:bodyPr vert="horz"/>
          <a:lstStyle/>
          <a:p>
            <a:r>
              <a:rPr lang="de-DE" dirty="0"/>
              <a:t>VPN-Test Azure und AWS</a:t>
            </a:r>
            <a:endParaRPr lang="de-CH" dirty="0"/>
          </a:p>
        </p:txBody>
      </p:sp>
      <p:sp>
        <p:nvSpPr>
          <p:cNvPr id="449539" name="Rectangle 3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de-CH" dirty="0"/>
              <a:t>25. Januar 2022</a:t>
            </a:r>
          </a:p>
          <a:p>
            <a:endParaRPr lang="de-CH" dirty="0"/>
          </a:p>
          <a:p>
            <a:r>
              <a:rPr lang="de-CH" dirty="0"/>
              <a:t>Werner Baumann, Senior Consultant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45946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EF98A07-C940-4D5E-9AD6-1838FDD243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795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EF98A07-C940-4D5E-9AD6-1838FDD24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Wolke 15">
            <a:extLst>
              <a:ext uri="{FF2B5EF4-FFF2-40B4-BE49-F238E27FC236}">
                <a16:creationId xmlns:a16="http://schemas.microsoft.com/office/drawing/2014/main" id="{46B56FAD-5129-4291-9E0A-D8E0325C484E}"/>
              </a:ext>
            </a:extLst>
          </p:cNvPr>
          <p:cNvSpPr/>
          <p:nvPr/>
        </p:nvSpPr>
        <p:spPr bwMode="auto">
          <a:xfrm>
            <a:off x="4556323" y="1062345"/>
            <a:ext cx="3817953" cy="1771702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+mn-lt"/>
              </a:rPr>
              <a:t>Interne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3F6E1C4-DB50-4945-8FFE-CD0CEDFEE5B5}"/>
              </a:ext>
            </a:extLst>
          </p:cNvPr>
          <p:cNvSpPr/>
          <p:nvPr/>
        </p:nvSpPr>
        <p:spPr bwMode="auto">
          <a:xfrm>
            <a:off x="1157989" y="2342733"/>
            <a:ext cx="4405902" cy="32504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CH" dirty="0">
                <a:solidFill>
                  <a:schemeClr val="tx1"/>
                </a:solidFill>
                <a:latin typeface="+mn-lt"/>
              </a:rPr>
              <a:t>Azur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0838748-F5C8-4D0F-85C2-919E33B337EC}"/>
              </a:ext>
            </a:extLst>
          </p:cNvPr>
          <p:cNvSpPr/>
          <p:nvPr/>
        </p:nvSpPr>
        <p:spPr bwMode="auto">
          <a:xfrm>
            <a:off x="7391291" y="2342733"/>
            <a:ext cx="4487318" cy="3250458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CH" dirty="0">
                <a:solidFill>
                  <a:schemeClr val="tx1"/>
                </a:solidFill>
                <a:latin typeface="+mn-lt"/>
              </a:rPr>
              <a:t>AWS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8E7C0128-5720-415E-9ABB-EB37CA20B2C1}"/>
              </a:ext>
            </a:extLst>
          </p:cNvPr>
          <p:cNvSpPr/>
          <p:nvPr/>
        </p:nvSpPr>
        <p:spPr bwMode="auto">
          <a:xfrm>
            <a:off x="7511757" y="2890038"/>
            <a:ext cx="4128487" cy="2280385"/>
          </a:xfrm>
          <a:prstGeom prst="rect">
            <a:avLst/>
          </a:prstGeom>
          <a:solidFill>
            <a:srgbClr val="CDACE6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CH" dirty="0">
                <a:solidFill>
                  <a:schemeClr val="tx1"/>
                </a:solidFill>
                <a:latin typeface="+mn-lt"/>
              </a:rPr>
              <a:t>Virtual Private Cloud </a:t>
            </a:r>
            <a:r>
              <a:rPr lang="de-CH" sz="800" dirty="0">
                <a:solidFill>
                  <a:schemeClr val="tx1"/>
                </a:solidFill>
                <a:latin typeface="+mn-lt"/>
              </a:rPr>
              <a:t>10.2.0.0/16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C373A6F-F8F9-4677-84CF-50344A48184F}"/>
              </a:ext>
            </a:extLst>
          </p:cNvPr>
          <p:cNvSpPr/>
          <p:nvPr/>
        </p:nvSpPr>
        <p:spPr bwMode="auto">
          <a:xfrm>
            <a:off x="1245519" y="2890038"/>
            <a:ext cx="4274252" cy="2280385"/>
          </a:xfrm>
          <a:prstGeom prst="rect">
            <a:avLst/>
          </a:prstGeom>
          <a:solidFill>
            <a:srgbClr val="CDACE6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CH" dirty="0">
                <a:solidFill>
                  <a:schemeClr val="tx1"/>
                </a:solidFill>
                <a:latin typeface="+mn-lt"/>
              </a:rPr>
              <a:t>Virtual Net </a:t>
            </a:r>
            <a:r>
              <a:rPr lang="de-CH" sz="800" dirty="0">
                <a:solidFill>
                  <a:schemeClr val="tx1"/>
                </a:solidFill>
                <a:latin typeface="+mn-lt"/>
              </a:rPr>
              <a:t>10.1.0.0/16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6C22201-963B-479E-A0A8-B34AB15DD7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EAE43B5-4B18-4856-8BB4-7B8FA31A4F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2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F2C81E6-C56F-4115-A075-1748C8DE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Systemübersich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1493E7D-A6FD-4EC8-A7E1-9A9ED5C84212}"/>
              </a:ext>
            </a:extLst>
          </p:cNvPr>
          <p:cNvSpPr/>
          <p:nvPr/>
        </p:nvSpPr>
        <p:spPr bwMode="auto">
          <a:xfrm>
            <a:off x="1329148" y="3360715"/>
            <a:ext cx="2541320" cy="1062842"/>
          </a:xfrm>
          <a:prstGeom prst="rect">
            <a:avLst/>
          </a:prstGeom>
          <a:solidFill>
            <a:srgbClr val="FFFFC9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CH" dirty="0" err="1">
                <a:solidFill>
                  <a:schemeClr val="tx1"/>
                </a:solidFill>
                <a:latin typeface="+mn-lt"/>
              </a:rPr>
              <a:t>subnet</a:t>
            </a:r>
            <a:r>
              <a:rPr lang="de-CH" dirty="0">
                <a:solidFill>
                  <a:schemeClr val="tx1"/>
                </a:solidFill>
                <a:latin typeface="+mn-lt"/>
              </a:rPr>
              <a:t> «internal» </a:t>
            </a:r>
            <a:r>
              <a:rPr lang="de-CH" sz="800" dirty="0">
                <a:solidFill>
                  <a:schemeClr val="tx1"/>
                </a:solidFill>
                <a:latin typeface="+mn-lt"/>
              </a:rPr>
              <a:t>10.1.1.0/2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E8F6C5E-5CFF-42B4-942F-2FD93EC5718A}"/>
              </a:ext>
            </a:extLst>
          </p:cNvPr>
          <p:cNvSpPr/>
          <p:nvPr/>
        </p:nvSpPr>
        <p:spPr bwMode="auto">
          <a:xfrm>
            <a:off x="1469378" y="3497282"/>
            <a:ext cx="884712" cy="4987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+mn-lt"/>
              </a:rPr>
              <a:t>vm1</a:t>
            </a:r>
          </a:p>
          <a:p>
            <a:pPr algn="ctr"/>
            <a:r>
              <a:rPr lang="de-CH" sz="800" dirty="0">
                <a:solidFill>
                  <a:schemeClr val="tx1"/>
                </a:solidFill>
                <a:latin typeface="+mn-lt"/>
              </a:rPr>
              <a:t>10.1.1.10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2B4C2D2-E605-4B6D-8276-BE9574C79651}"/>
              </a:ext>
            </a:extLst>
          </p:cNvPr>
          <p:cNvSpPr/>
          <p:nvPr/>
        </p:nvSpPr>
        <p:spPr bwMode="auto">
          <a:xfrm>
            <a:off x="3938775" y="3020190"/>
            <a:ext cx="1494229" cy="1842148"/>
          </a:xfrm>
          <a:prstGeom prst="rect">
            <a:avLst/>
          </a:prstGeom>
          <a:solidFill>
            <a:srgbClr val="FFFFC9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vert270" wrap="square" lIns="36000" tIns="36000" rIns="36000" bIns="3600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CH" dirty="0">
                <a:solidFill>
                  <a:schemeClr val="tx1"/>
                </a:solidFill>
                <a:latin typeface="+mn-lt"/>
              </a:rPr>
              <a:t>«</a:t>
            </a:r>
            <a:r>
              <a:rPr lang="de-CH" dirty="0" err="1">
                <a:solidFill>
                  <a:schemeClr val="tx1"/>
                </a:solidFill>
                <a:latin typeface="+mn-lt"/>
              </a:rPr>
              <a:t>GatewaySubnet</a:t>
            </a:r>
            <a:r>
              <a:rPr lang="de-CH" dirty="0">
                <a:solidFill>
                  <a:schemeClr val="tx1"/>
                </a:solidFill>
                <a:latin typeface="+mn-lt"/>
              </a:rPr>
              <a:t>» </a:t>
            </a:r>
            <a:r>
              <a:rPr lang="de-CH" sz="800" dirty="0">
                <a:solidFill>
                  <a:schemeClr val="tx1"/>
                </a:solidFill>
                <a:latin typeface="+mn-lt"/>
              </a:rPr>
              <a:t>10.1.0.0/27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E13712C-AF48-46C2-8E33-9B487A426D3C}"/>
              </a:ext>
            </a:extLst>
          </p:cNvPr>
          <p:cNvSpPr/>
          <p:nvPr/>
        </p:nvSpPr>
        <p:spPr bwMode="auto">
          <a:xfrm>
            <a:off x="2643056" y="3497281"/>
            <a:ext cx="884712" cy="4987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+mn-lt"/>
              </a:rPr>
              <a:t>vm2</a:t>
            </a:r>
          </a:p>
          <a:p>
            <a:r>
              <a:rPr lang="de-CH" sz="800" dirty="0">
                <a:solidFill>
                  <a:schemeClr val="tx1"/>
                </a:solidFill>
              </a:rPr>
              <a:t>10.1.1.20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B64BCA7-5DD5-45FD-B40E-6E915CD4C70C}"/>
              </a:ext>
            </a:extLst>
          </p:cNvPr>
          <p:cNvSpPr/>
          <p:nvPr/>
        </p:nvSpPr>
        <p:spPr bwMode="auto">
          <a:xfrm>
            <a:off x="9007816" y="3360715"/>
            <a:ext cx="2541320" cy="1062842"/>
          </a:xfrm>
          <a:prstGeom prst="rect">
            <a:avLst/>
          </a:prstGeom>
          <a:solidFill>
            <a:srgbClr val="FFFFC9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CH" dirty="0">
                <a:solidFill>
                  <a:schemeClr val="tx1"/>
                </a:solidFill>
                <a:latin typeface="+mn-lt"/>
              </a:rPr>
              <a:t>«</a:t>
            </a:r>
            <a:r>
              <a:rPr lang="de-CH" dirty="0" err="1">
                <a:solidFill>
                  <a:schemeClr val="tx1"/>
                </a:solidFill>
                <a:latin typeface="+mn-lt"/>
              </a:rPr>
              <a:t>vpntest-subnet</a:t>
            </a:r>
            <a:r>
              <a:rPr lang="de-CH" dirty="0">
                <a:solidFill>
                  <a:schemeClr val="tx1"/>
                </a:solidFill>
                <a:latin typeface="+mn-lt"/>
              </a:rPr>
              <a:t>» </a:t>
            </a:r>
            <a:r>
              <a:rPr lang="de-CH" sz="800" dirty="0">
                <a:solidFill>
                  <a:schemeClr val="tx1"/>
                </a:solidFill>
                <a:latin typeface="+mn-lt"/>
              </a:rPr>
              <a:t>10.2.1.0/2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27E8440-5D75-476A-A6E7-F46C46B9864C}"/>
              </a:ext>
            </a:extLst>
          </p:cNvPr>
          <p:cNvSpPr/>
          <p:nvPr/>
        </p:nvSpPr>
        <p:spPr bwMode="auto">
          <a:xfrm>
            <a:off x="9215030" y="3499417"/>
            <a:ext cx="884712" cy="4987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+mn-lt"/>
              </a:rPr>
              <a:t>vm3</a:t>
            </a:r>
          </a:p>
          <a:p>
            <a:r>
              <a:rPr lang="de-CH" sz="800" dirty="0">
                <a:solidFill>
                  <a:schemeClr val="tx1"/>
                </a:solidFill>
              </a:rPr>
              <a:t>10.2.1.10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CB3E8E4-6B8E-4DE7-BF9F-FCC2185444CC}"/>
              </a:ext>
            </a:extLst>
          </p:cNvPr>
          <p:cNvSpPr/>
          <p:nvPr/>
        </p:nvSpPr>
        <p:spPr bwMode="auto">
          <a:xfrm>
            <a:off x="9133644" y="2087175"/>
            <a:ext cx="884712" cy="4987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CH" dirty="0">
                <a:solidFill>
                  <a:schemeClr val="tx1"/>
                </a:solidFill>
              </a:rPr>
              <a:t>Internet Gateway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D61A9F30-A2AA-4A73-9C22-4A9F9EB41093}"/>
              </a:ext>
            </a:extLst>
          </p:cNvPr>
          <p:cNvCxnSpPr>
            <a:cxnSpLocks/>
            <a:stCxn id="7" idx="0"/>
            <a:endCxn id="16" idx="2"/>
          </p:cNvCxnSpPr>
          <p:nvPr/>
        </p:nvCxnSpPr>
        <p:spPr bwMode="auto">
          <a:xfrm flipV="1">
            <a:off x="1911734" y="1948196"/>
            <a:ext cx="2656432" cy="1549086"/>
          </a:xfrm>
          <a:prstGeom prst="straightConnector1">
            <a:avLst/>
          </a:prstGeom>
          <a:solidFill>
            <a:schemeClr val="hlink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E196042D-728E-4205-9356-032B00A0AC87}"/>
              </a:ext>
            </a:extLst>
          </p:cNvPr>
          <p:cNvCxnSpPr>
            <a:cxnSpLocks/>
            <a:stCxn id="8" idx="0"/>
            <a:endCxn id="16" idx="2"/>
          </p:cNvCxnSpPr>
          <p:nvPr/>
        </p:nvCxnSpPr>
        <p:spPr bwMode="auto">
          <a:xfrm flipV="1">
            <a:off x="3085412" y="1948196"/>
            <a:ext cx="1482754" cy="1549085"/>
          </a:xfrm>
          <a:prstGeom prst="straightConnector1">
            <a:avLst/>
          </a:prstGeom>
          <a:solidFill>
            <a:schemeClr val="hlink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664768C9-5937-476E-AC84-3F14795A32B4}"/>
              </a:ext>
            </a:extLst>
          </p:cNvPr>
          <p:cNvCxnSpPr>
            <a:cxnSpLocks/>
            <a:stCxn id="16" idx="0"/>
            <a:endCxn id="14" idx="0"/>
          </p:cNvCxnSpPr>
          <p:nvPr/>
        </p:nvCxnSpPr>
        <p:spPr bwMode="auto">
          <a:xfrm>
            <a:off x="8371094" y="1948196"/>
            <a:ext cx="1204906" cy="138979"/>
          </a:xfrm>
          <a:prstGeom prst="straightConnector1">
            <a:avLst/>
          </a:prstGeom>
          <a:solidFill>
            <a:schemeClr val="hlink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</p:cxnSp>
      <p:pic>
        <p:nvPicPr>
          <p:cNvPr id="64" name="Grafik 63" descr="Benutzer">
            <a:extLst>
              <a:ext uri="{FF2B5EF4-FFF2-40B4-BE49-F238E27FC236}">
                <a16:creationId xmlns:a16="http://schemas.microsoft.com/office/drawing/2014/main" id="{C09F8CBC-9988-465D-9648-CF1A61DAA2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9784" y="1169308"/>
            <a:ext cx="518269" cy="518269"/>
          </a:xfrm>
          <a:prstGeom prst="rect">
            <a:avLst/>
          </a:prstGeom>
        </p:spPr>
      </p:pic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3BE438D2-FAC3-422C-A87B-48D871BC0AAA}"/>
              </a:ext>
            </a:extLst>
          </p:cNvPr>
          <p:cNvCxnSpPr>
            <a:cxnSpLocks/>
            <a:stCxn id="64" idx="3"/>
            <a:endCxn id="16" idx="2"/>
          </p:cNvCxnSpPr>
          <p:nvPr/>
        </p:nvCxnSpPr>
        <p:spPr bwMode="auto">
          <a:xfrm>
            <a:off x="2318053" y="1428443"/>
            <a:ext cx="2250113" cy="519753"/>
          </a:xfrm>
          <a:prstGeom prst="straightConnector1">
            <a:avLst/>
          </a:prstGeom>
          <a:solidFill>
            <a:schemeClr val="hlink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15903DF-4818-4639-AED8-A60FE343C509}"/>
              </a:ext>
            </a:extLst>
          </p:cNvPr>
          <p:cNvCxnSpPr>
            <a:cxnSpLocks/>
            <a:stCxn id="9" idx="0"/>
            <a:endCxn id="14" idx="2"/>
          </p:cNvCxnSpPr>
          <p:nvPr/>
        </p:nvCxnSpPr>
        <p:spPr bwMode="auto">
          <a:xfrm flipH="1" flipV="1">
            <a:off x="9576000" y="2585938"/>
            <a:ext cx="81386" cy="913479"/>
          </a:xfrm>
          <a:prstGeom prst="straightConnector1">
            <a:avLst/>
          </a:prstGeom>
          <a:solidFill>
            <a:schemeClr val="hlink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</p:spPr>
      </p:cxnSp>
      <p:sp>
        <p:nvSpPr>
          <p:cNvPr id="74" name="Ellipse 73">
            <a:extLst>
              <a:ext uri="{FF2B5EF4-FFF2-40B4-BE49-F238E27FC236}">
                <a16:creationId xmlns:a16="http://schemas.microsoft.com/office/drawing/2014/main" id="{7412530A-175C-4824-A9E3-6A2B1B42B2FD}"/>
              </a:ext>
            </a:extLst>
          </p:cNvPr>
          <p:cNvSpPr/>
          <p:nvPr/>
        </p:nvSpPr>
        <p:spPr bwMode="auto">
          <a:xfrm>
            <a:off x="5252762" y="1782012"/>
            <a:ext cx="2505279" cy="3080326"/>
          </a:xfrm>
          <a:prstGeom prst="ellips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+mn-lt"/>
              </a:rPr>
              <a:t>VPN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03048039-6D2A-41C0-89EC-654BB77F9757}"/>
              </a:ext>
            </a:extLst>
          </p:cNvPr>
          <p:cNvSpPr txBox="1"/>
          <p:nvPr/>
        </p:nvSpPr>
        <p:spPr>
          <a:xfrm>
            <a:off x="6944517" y="3315559"/>
            <a:ext cx="412540" cy="195814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lIns="36000" tIns="36000" rIns="36000" bIns="3600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CH" sz="800" dirty="0">
                <a:solidFill>
                  <a:schemeClr val="tx1"/>
                </a:solidFill>
                <a:latin typeface="+mn-lt"/>
              </a:rPr>
              <a:t>tunnel1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045A2690-4248-4BE4-84AF-000C15EBFF97}"/>
              </a:ext>
            </a:extLst>
          </p:cNvPr>
          <p:cNvSpPr txBox="1"/>
          <p:nvPr/>
        </p:nvSpPr>
        <p:spPr>
          <a:xfrm>
            <a:off x="6955419" y="3806742"/>
            <a:ext cx="412540" cy="195814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lIns="36000" tIns="36000" rIns="36000" bIns="3600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CH" sz="800" dirty="0">
                <a:solidFill>
                  <a:schemeClr val="tx1"/>
                </a:solidFill>
                <a:latin typeface="+mn-lt"/>
              </a:rPr>
              <a:t>tunnel2</a:t>
            </a:r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BFCB7DB1-DFA2-4DA3-8622-83D930A90CBC}"/>
              </a:ext>
            </a:extLst>
          </p:cNvPr>
          <p:cNvSpPr/>
          <p:nvPr/>
        </p:nvSpPr>
        <p:spPr bwMode="auto">
          <a:xfrm flipV="1">
            <a:off x="5377542" y="3511373"/>
            <a:ext cx="2180880" cy="64750"/>
          </a:xfrm>
          <a:custGeom>
            <a:avLst/>
            <a:gdLst>
              <a:gd name="connsiteX0" fmla="*/ 0 w 1274821"/>
              <a:gd name="connsiteY0" fmla="*/ 1295053 h 1382333"/>
              <a:gd name="connsiteX1" fmla="*/ 460538 w 1274821"/>
              <a:gd name="connsiteY1" fmla="*/ 209 h 1382333"/>
              <a:gd name="connsiteX2" fmla="*/ 887703 w 1274821"/>
              <a:gd name="connsiteY2" fmla="*/ 1194936 h 1382333"/>
              <a:gd name="connsiteX3" fmla="*/ 1274821 w 1274821"/>
              <a:gd name="connsiteY3" fmla="*/ 1361797 h 1382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4821" h="1382333">
                <a:moveTo>
                  <a:pt x="0" y="1295053"/>
                </a:moveTo>
                <a:cubicBezTo>
                  <a:pt x="156294" y="655974"/>
                  <a:pt x="312588" y="16895"/>
                  <a:pt x="460538" y="209"/>
                </a:cubicBezTo>
                <a:cubicBezTo>
                  <a:pt x="608488" y="-16477"/>
                  <a:pt x="751989" y="968005"/>
                  <a:pt x="887703" y="1194936"/>
                </a:cubicBezTo>
                <a:cubicBezTo>
                  <a:pt x="1023417" y="1421867"/>
                  <a:pt x="1149119" y="1391832"/>
                  <a:pt x="1274821" y="1361797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AA75807D-545E-4BD4-A6D0-C6335A73F60A}"/>
              </a:ext>
            </a:extLst>
          </p:cNvPr>
          <p:cNvSpPr/>
          <p:nvPr/>
        </p:nvSpPr>
        <p:spPr bwMode="auto">
          <a:xfrm flipV="1">
            <a:off x="5366260" y="3998891"/>
            <a:ext cx="2192162" cy="64751"/>
          </a:xfrm>
          <a:custGeom>
            <a:avLst/>
            <a:gdLst>
              <a:gd name="connsiteX0" fmla="*/ 0 w 1348239"/>
              <a:gd name="connsiteY0" fmla="*/ 1555208 h 1689592"/>
              <a:gd name="connsiteX1" fmla="*/ 246955 w 1348239"/>
              <a:gd name="connsiteY1" fmla="*/ 1535185 h 1689592"/>
              <a:gd name="connsiteX2" fmla="*/ 553979 w 1348239"/>
              <a:gd name="connsiteY2" fmla="*/ 61 h 1689592"/>
              <a:gd name="connsiteX3" fmla="*/ 840981 w 1348239"/>
              <a:gd name="connsiteY3" fmla="*/ 1475115 h 1689592"/>
              <a:gd name="connsiteX4" fmla="*/ 1348239 w 1348239"/>
              <a:gd name="connsiteY4" fmla="*/ 1635301 h 168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8239" h="1689592">
                <a:moveTo>
                  <a:pt x="0" y="1555208"/>
                </a:moveTo>
                <a:cubicBezTo>
                  <a:pt x="77312" y="1674792"/>
                  <a:pt x="154625" y="1794376"/>
                  <a:pt x="246955" y="1535185"/>
                </a:cubicBezTo>
                <a:cubicBezTo>
                  <a:pt x="339285" y="1275994"/>
                  <a:pt x="454975" y="10073"/>
                  <a:pt x="553979" y="61"/>
                </a:cubicBezTo>
                <a:cubicBezTo>
                  <a:pt x="652983" y="-9951"/>
                  <a:pt x="708604" y="1202575"/>
                  <a:pt x="840981" y="1475115"/>
                </a:cubicBezTo>
                <a:cubicBezTo>
                  <a:pt x="973358" y="1747655"/>
                  <a:pt x="1160798" y="1691478"/>
                  <a:pt x="1348239" y="1635301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EA16CCD-1D97-408C-8317-6FF3DE2C82F4}"/>
              </a:ext>
            </a:extLst>
          </p:cNvPr>
          <p:cNvSpPr/>
          <p:nvPr/>
        </p:nvSpPr>
        <p:spPr bwMode="auto">
          <a:xfrm>
            <a:off x="7558422" y="3132173"/>
            <a:ext cx="1005067" cy="1621891"/>
          </a:xfrm>
          <a:prstGeom prst="rect">
            <a:avLst/>
          </a:prstGeom>
          <a:solidFill>
            <a:srgbClr val="FF0000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+mn-lt"/>
              </a:rPr>
              <a:t>Virtual Private Gateway</a:t>
            </a:r>
            <a:endParaRPr lang="de-CH" sz="800" dirty="0">
              <a:solidFill>
                <a:schemeClr val="tx1"/>
              </a:solidFill>
              <a:latin typeface="+mn-lt"/>
            </a:endParaRPr>
          </a:p>
          <a:p>
            <a:pPr algn="ctr"/>
            <a:r>
              <a:rPr lang="de-CH" sz="800" dirty="0">
                <a:solidFill>
                  <a:schemeClr val="tx1"/>
                </a:solidFill>
                <a:latin typeface="+mn-lt"/>
              </a:rPr>
              <a:t>«</a:t>
            </a:r>
            <a:r>
              <a:rPr lang="de-CH" sz="800" dirty="0" err="1">
                <a:solidFill>
                  <a:schemeClr val="tx1"/>
                </a:solidFill>
                <a:latin typeface="+mn-lt"/>
              </a:rPr>
              <a:t>vpn-gw</a:t>
            </a:r>
            <a:r>
              <a:rPr lang="de-CH" sz="800" dirty="0">
                <a:solidFill>
                  <a:schemeClr val="tx1"/>
                </a:solidFill>
                <a:latin typeface="+mn-lt"/>
              </a:rPr>
              <a:t>»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4CB4BAA-5874-42EC-A75E-2961983CFAFA}"/>
              </a:ext>
            </a:extLst>
          </p:cNvPr>
          <p:cNvSpPr/>
          <p:nvPr/>
        </p:nvSpPr>
        <p:spPr bwMode="auto">
          <a:xfrm>
            <a:off x="7601385" y="3173830"/>
            <a:ext cx="702551" cy="4290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1000" dirty="0">
                <a:solidFill>
                  <a:schemeClr val="tx1"/>
                </a:solidFill>
                <a:latin typeface="+mn-lt"/>
              </a:rPr>
              <a:t>Customer Gateway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C27222F-54A9-4CB5-89CC-1C766BABCC67}"/>
              </a:ext>
            </a:extLst>
          </p:cNvPr>
          <p:cNvSpPr/>
          <p:nvPr/>
        </p:nvSpPr>
        <p:spPr bwMode="auto">
          <a:xfrm>
            <a:off x="4372475" y="3132173"/>
            <a:ext cx="1005067" cy="1621891"/>
          </a:xfrm>
          <a:prstGeom prst="rect">
            <a:avLst/>
          </a:prstGeom>
          <a:solidFill>
            <a:srgbClr val="FF0000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+mn-lt"/>
              </a:rPr>
              <a:t>VPN Gateway </a:t>
            </a:r>
          </a:p>
          <a:p>
            <a:pPr algn="ctr"/>
            <a:r>
              <a:rPr lang="de-CH" sz="800" dirty="0">
                <a:solidFill>
                  <a:schemeClr val="tx1"/>
                </a:solidFill>
                <a:latin typeface="+mn-lt"/>
              </a:rPr>
              <a:t>«</a:t>
            </a:r>
            <a:r>
              <a:rPr lang="de-CH" sz="800" dirty="0" err="1">
                <a:solidFill>
                  <a:schemeClr val="tx1"/>
                </a:solidFill>
                <a:latin typeface="+mn-lt"/>
              </a:rPr>
              <a:t>vng</a:t>
            </a:r>
            <a:r>
              <a:rPr lang="de-CH" sz="800" dirty="0">
                <a:solidFill>
                  <a:schemeClr val="tx1"/>
                </a:solidFill>
                <a:latin typeface="+mn-lt"/>
              </a:rPr>
              <a:t>»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F42D0B3E-313D-4AE6-9675-28D68263F7D9}"/>
              </a:ext>
            </a:extLst>
          </p:cNvPr>
          <p:cNvSpPr/>
          <p:nvPr/>
        </p:nvSpPr>
        <p:spPr bwMode="auto">
          <a:xfrm>
            <a:off x="4636473" y="3173830"/>
            <a:ext cx="702551" cy="4290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1000" dirty="0" err="1">
                <a:solidFill>
                  <a:schemeClr val="tx1"/>
                </a:solidFill>
                <a:latin typeface="+mn-lt"/>
              </a:rPr>
              <a:t>Local</a:t>
            </a:r>
            <a:r>
              <a:rPr lang="de-CH" sz="1000" dirty="0">
                <a:solidFill>
                  <a:schemeClr val="tx1"/>
                </a:solidFill>
                <a:latin typeface="+mn-lt"/>
              </a:rPr>
              <a:t> Gateway 1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6C5A6E-88BE-45A1-BD20-4951FE6C2E2F}"/>
              </a:ext>
            </a:extLst>
          </p:cNvPr>
          <p:cNvSpPr/>
          <p:nvPr/>
        </p:nvSpPr>
        <p:spPr bwMode="auto">
          <a:xfrm>
            <a:off x="4635832" y="3634623"/>
            <a:ext cx="702551" cy="4290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1000" dirty="0" err="1">
                <a:solidFill>
                  <a:schemeClr val="tx1"/>
                </a:solidFill>
                <a:latin typeface="+mn-lt"/>
              </a:rPr>
              <a:t>Local</a:t>
            </a:r>
            <a:r>
              <a:rPr lang="de-CH" sz="1000" dirty="0">
                <a:solidFill>
                  <a:schemeClr val="tx1"/>
                </a:solidFill>
                <a:latin typeface="+mn-lt"/>
              </a:rPr>
              <a:t> Gateway 2</a:t>
            </a:r>
          </a:p>
        </p:txBody>
      </p:sp>
    </p:spTree>
    <p:extLst>
      <p:ext uri="{BB962C8B-B14F-4D97-AF65-F5344CB8AC3E}">
        <p14:creationId xmlns:p14="http://schemas.microsoft.com/office/powerpoint/2010/main" val="399732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'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0&quot;&gt;&lt;elem m_fUsage=&quot;1.81000000000000005329E+00&quot;&gt;&lt;m_msothmcolidx val=&quot;0&quot;/&gt;&lt;m_rgb r=&quot;D7&quot; g=&quot;E4&quot; b=&quot;84&quot;/&gt;&lt;m_nBrightness val=&quot;0&quot;/&gt;&lt;/elem&gt;&lt;elem m_fUsage=&quot;1.60022790000000014743E+00&quot;&gt;&lt;m_msothmcolidx val=&quot;0&quot;/&gt;&lt;m_rgb r=&quot;B2&quot; g=&quot;CC&quot; b=&quot;4C&quot;/&gt;&lt;m_nBrightness val=&quot;0&quot;/&gt;&lt;/elem&gt;&lt;elem m_fUsage=&quot;1.55610000000000003872E+00&quot;&gt;&lt;m_msothmcolidx val=&quot;0&quot;/&gt;&lt;m_rgb r=&quot;BC&quot; g=&quot;D2&quot; b=&quot;32&quot;/&gt;&lt;m_nBrightness val=&quot;0&quot;/&gt;&lt;/elem&gt;&lt;elem m_fUsage=&quot;1.37060707183290020339E+00&quot;&gt;&lt;m_msothmcolidx val=&quot;0&quot;/&gt;&lt;m_rgb r=&quot;D2&quot; g=&quot;E1&quot; b=&quot;97&quot;/&gt;&lt;m_nBrightness val=&quot;0&quot;/&gt;&lt;/elem&gt;&lt;elem m_fUsage=&quot;8.02296203201143587336E-01&quot;&gt;&lt;m_msothmcolidx val=&quot;0&quot;/&gt;&lt;m_rgb r=&quot;30&quot; g=&quot;53&quot; b=&quot;8D&quot;/&gt;&lt;m_nBrightness val=&quot;0&quot;/&gt;&lt;/elem&gt;&lt;elem m_fUsage=&quot;7.12896746481000320728E-01&quot;&gt;&lt;m_msothmcolidx val=&quot;0&quot;/&gt;&lt;m_rgb r=&quot;B6&quot; g=&quot;CE&quot; b=&quot;53&quot;/&gt;&lt;m_nBrightness val=&quot;0&quot;/&gt;&lt;/elem&gt;&lt;elem m_fUsage=&quot;6.62489036190000102344E-01&quot;&gt;&lt;m_msothmcolidx val=&quot;0&quot;/&gt;&lt;m_rgb r=&quot;CD&quot; g=&quot;DE&quot; b=&quot;8B&quot;/&gt;&lt;m_nBrightness val=&quot;0&quot;/&gt;&lt;/elem&gt;&lt;elem m_fUsage=&quot;3.91193150979833204062E-01&quot;&gt;&lt;m_msothmcolidx val=&quot;0&quot;/&gt;&lt;m_rgb r=&quot;D2&quot; g=&quot;54&quot; b=&quot;54&quot;/&gt;&lt;m_nBrightness val=&quot;0&quot;/&gt;&lt;/elem&gt;&lt;elem m_fUsage=&quot;3.59452321195931345787E-01&quot;&gt;&lt;m_msothmcolidx val=&quot;0&quot;/&gt;&lt;m_rgb r=&quot;CF&quot; g=&quot;DB&quot; b=&quot;EF&quot;/&gt;&lt;m_nBrightness val=&quot;0&quot;/&gt;&lt;/elem&gt;&lt;elem m_fUsage=&quot;8.86293811965250810658E-02&quot;&gt;&lt;m_msothmcolidx val=&quot;0&quot;/&gt;&lt;m_rgb r=&quot;E6&quot; g=&quot;BE&quot; b=&quot;2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YjQ6MxSLqwTh0YTUjr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Y0yljBTgetlKSRDgUD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WK breit">
  <a:themeElements>
    <a:clrScheme name="AWK-2015">
      <a:dk1>
        <a:srgbClr val="646260"/>
      </a:dk1>
      <a:lt1>
        <a:srgbClr val="FFFFFF"/>
      </a:lt1>
      <a:dk2>
        <a:srgbClr val="F76E07"/>
      </a:dk2>
      <a:lt2>
        <a:srgbClr val="FCC69E"/>
      </a:lt2>
      <a:accent1>
        <a:srgbClr val="336483"/>
      </a:accent1>
      <a:accent2>
        <a:srgbClr val="449DC3"/>
      </a:accent2>
      <a:accent3>
        <a:srgbClr val="A2A09E"/>
      </a:accent3>
      <a:accent4>
        <a:srgbClr val="8AA5B6"/>
      </a:accent4>
      <a:accent5>
        <a:srgbClr val="73ABCD"/>
      </a:accent5>
      <a:accent6>
        <a:srgbClr val="B3CA2C"/>
      </a:accent6>
      <a:hlink>
        <a:srgbClr val="0083E6"/>
      </a:hlink>
      <a:folHlink>
        <a:srgbClr val="25A2F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 w="19050" cap="flat" cmpd="sng" algn="ctr">
          <a:noFill/>
          <a:prstDash val="solid"/>
          <a:round/>
          <a:headEnd type="none" w="lg" len="lg"/>
          <a:tailEnd type="none" w="lg" len="lg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  <a:latin typeface="+mn-lt"/>
          </a:defRPr>
        </a:defPPr>
      </a:lstStyle>
    </a:spDef>
    <a:lnDef>
      <a:spPr bwMode="auto">
        <a:solidFill>
          <a:schemeClr val="hlink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  <a:effectLst/>
      </a:spPr>
      <a:bodyPr wrap="square" lIns="36000" tIns="36000" rIns="36000" bIns="36000" rtlCol="0">
        <a:spAutoFit/>
      </a:bodyPr>
      <a:lstStyle>
        <a:defPPr marL="180000" indent="-180000" algn="l">
          <a:spcBef>
            <a:spcPts val="600"/>
          </a:spcBef>
          <a:buClr>
            <a:schemeClr val="accent6"/>
          </a:buClr>
          <a:buSzPct val="100000"/>
          <a:buFont typeface="Arial" pitchFamily="34" charset="0"/>
          <a:buChar char="●"/>
          <a:defRPr dirty="0" err="1" smtClean="0">
            <a:solidFill>
              <a:schemeClr val="tx1"/>
            </a:solidFill>
            <a:latin typeface="+mn-lt"/>
          </a:defRPr>
        </a:defPPr>
      </a:lstStyle>
      <a:style>
        <a:lnRef idx="0">
          <a:scrgbClr r="0" g="0" b="0"/>
        </a:lnRef>
        <a:fillRef idx="1001">
          <a:schemeClr val="lt2"/>
        </a:fillRef>
        <a:effectRef idx="0">
          <a:scrgbClr r="0" g="0" b="0"/>
        </a:effectRef>
        <a:fontRef idx="major"/>
      </a: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2258"/>
        </a:dk2>
        <a:lt2>
          <a:srgbClr val="C0C0C0"/>
        </a:lt2>
        <a:accent1>
          <a:srgbClr val="003893"/>
        </a:accent1>
        <a:accent2>
          <a:srgbClr val="829AC2"/>
        </a:accent2>
        <a:accent3>
          <a:srgbClr val="FFFFFF"/>
        </a:accent3>
        <a:accent4>
          <a:srgbClr val="000000"/>
        </a:accent4>
        <a:accent5>
          <a:srgbClr val="AAAEC8"/>
        </a:accent5>
        <a:accent6>
          <a:srgbClr val="758BB0"/>
        </a:accent6>
        <a:hlink>
          <a:srgbClr val="C2CEE4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5257"/>
        </a:dk2>
        <a:lt2>
          <a:srgbClr val="C0C0C0"/>
        </a:lt2>
        <a:accent1>
          <a:srgbClr val="598F94"/>
        </a:accent1>
        <a:accent2>
          <a:srgbClr val="81B3B7"/>
        </a:accent2>
        <a:accent3>
          <a:srgbClr val="FFFFFF"/>
        </a:accent3>
        <a:accent4>
          <a:srgbClr val="000000"/>
        </a:accent4>
        <a:accent5>
          <a:srgbClr val="B5C6C8"/>
        </a:accent5>
        <a:accent6>
          <a:srgbClr val="74A2A6"/>
        </a:accent6>
        <a:hlink>
          <a:srgbClr val="D6DED9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404F21"/>
        </a:dk2>
        <a:lt2>
          <a:srgbClr val="C0C0C0"/>
        </a:lt2>
        <a:accent1>
          <a:srgbClr val="638F38"/>
        </a:accent1>
        <a:accent2>
          <a:srgbClr val="B3C98C"/>
        </a:accent2>
        <a:accent3>
          <a:srgbClr val="FFFFFF"/>
        </a:accent3>
        <a:accent4>
          <a:srgbClr val="000000"/>
        </a:accent4>
        <a:accent5>
          <a:srgbClr val="B7C6AE"/>
        </a:accent5>
        <a:accent6>
          <a:srgbClr val="A2B67E"/>
        </a:accent6>
        <a:hlink>
          <a:srgbClr val="D4DEB5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522145"/>
        </a:dk2>
        <a:lt2>
          <a:srgbClr val="C0C0C0"/>
        </a:lt2>
        <a:accent1>
          <a:srgbClr val="72166B"/>
        </a:accent1>
        <a:accent2>
          <a:srgbClr val="B682B2"/>
        </a:accent2>
        <a:accent3>
          <a:srgbClr val="FFFFFF"/>
        </a:accent3>
        <a:accent4>
          <a:srgbClr val="000000"/>
        </a:accent4>
        <a:accent5>
          <a:srgbClr val="BCABBA"/>
        </a:accent5>
        <a:accent6>
          <a:srgbClr val="A575A1"/>
        </a:accent6>
        <a:hlink>
          <a:srgbClr val="DEBFD9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94820A"/>
        </a:dk2>
        <a:lt2>
          <a:srgbClr val="C0C0C0"/>
        </a:lt2>
        <a:accent1>
          <a:srgbClr val="D4B012"/>
        </a:accent1>
        <a:accent2>
          <a:srgbClr val="E7D165"/>
        </a:accent2>
        <a:accent3>
          <a:srgbClr val="FFFFFF"/>
        </a:accent3>
        <a:accent4>
          <a:srgbClr val="000000"/>
        </a:accent4>
        <a:accent5>
          <a:srgbClr val="E6D4AA"/>
        </a:accent5>
        <a:accent6>
          <a:srgbClr val="D1BD5B"/>
        </a:accent6>
        <a:hlink>
          <a:srgbClr val="F0D6A8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965700"/>
        </a:dk2>
        <a:lt2>
          <a:srgbClr val="C0C0C0"/>
        </a:lt2>
        <a:accent1>
          <a:srgbClr val="DD7500"/>
        </a:accent1>
        <a:accent2>
          <a:srgbClr val="F5AD5D"/>
        </a:accent2>
        <a:accent3>
          <a:srgbClr val="FFFFFF"/>
        </a:accent3>
        <a:accent4>
          <a:srgbClr val="000000"/>
        </a:accent4>
        <a:accent5>
          <a:srgbClr val="EBBDAA"/>
        </a:accent5>
        <a:accent6>
          <a:srgbClr val="DE9C53"/>
        </a:accent6>
        <a:hlink>
          <a:srgbClr val="F0D6A8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781F1C"/>
        </a:dk2>
        <a:lt2>
          <a:srgbClr val="C0C0C0"/>
        </a:lt2>
        <a:accent1>
          <a:srgbClr val="AF2626"/>
        </a:accent1>
        <a:accent2>
          <a:srgbClr val="CC858A"/>
        </a:accent2>
        <a:accent3>
          <a:srgbClr val="FFFFFF"/>
        </a:accent3>
        <a:accent4>
          <a:srgbClr val="000000"/>
        </a:accent4>
        <a:accent5>
          <a:srgbClr val="D4ACAC"/>
        </a:accent5>
        <a:accent6>
          <a:srgbClr val="B9787D"/>
        </a:accent6>
        <a:hlink>
          <a:srgbClr val="E8CCC7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87E94D81-4F4A-4C92-AEA0-7048039F1744}" vid="{2ECD3AED-18DB-4F76-B5FE-5ED8E9EAB1CD}"/>
    </a:ext>
  </a:extLst>
</a:theme>
</file>

<file path=ppt/theme/theme2.xml><?xml version="1.0" encoding="utf-8"?>
<a:theme xmlns:a="http://schemas.openxmlformats.org/drawingml/2006/main" name="Larissa-Design">
  <a:themeElements>
    <a:clrScheme name="AWK-Standard">
      <a:dk1>
        <a:srgbClr val="000000"/>
      </a:dk1>
      <a:lt1>
        <a:srgbClr val="FFFFFF"/>
      </a:lt1>
      <a:dk2>
        <a:srgbClr val="305A8D"/>
      </a:dk2>
      <a:lt2>
        <a:srgbClr val="DBDDE6"/>
      </a:lt2>
      <a:accent1>
        <a:srgbClr val="30538D"/>
      </a:accent1>
      <a:accent2>
        <a:srgbClr val="458DA3"/>
      </a:accent2>
      <a:accent3>
        <a:srgbClr val="698D45"/>
      </a:accent3>
      <a:accent4>
        <a:srgbClr val="E6BE2C"/>
      </a:accent4>
      <a:accent5>
        <a:srgbClr val="E98D27"/>
      </a:accent5>
      <a:accent6>
        <a:srgbClr val="D25454"/>
      </a:accent6>
      <a:hlink>
        <a:srgbClr val="0000FF"/>
      </a:hlink>
      <a:folHlink>
        <a:srgbClr val="0000F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hoebe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AWK-Standard">
      <a:dk1>
        <a:srgbClr val="000000"/>
      </a:dk1>
      <a:lt1>
        <a:srgbClr val="FFFFFF"/>
      </a:lt1>
      <a:dk2>
        <a:srgbClr val="305A8D"/>
      </a:dk2>
      <a:lt2>
        <a:srgbClr val="DBDDE6"/>
      </a:lt2>
      <a:accent1>
        <a:srgbClr val="30538D"/>
      </a:accent1>
      <a:accent2>
        <a:srgbClr val="458DA3"/>
      </a:accent2>
      <a:accent3>
        <a:srgbClr val="698D45"/>
      </a:accent3>
      <a:accent4>
        <a:srgbClr val="E6BE2C"/>
      </a:accent4>
      <a:accent5>
        <a:srgbClr val="E98D27"/>
      </a:accent5>
      <a:accent6>
        <a:srgbClr val="D25454"/>
      </a:accent6>
      <a:hlink>
        <a:srgbClr val="0000FF"/>
      </a:hlink>
      <a:folHlink>
        <a:srgbClr val="0000F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hoebe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16_zu_9</Template>
  <TotalTime>0</TotalTime>
  <Pages>5</Pages>
  <Words>87</Words>
  <Application>Microsoft Office PowerPoint</Application>
  <PresentationFormat>Breitbild</PresentationFormat>
  <Paragraphs>37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21 Futura Lt</vt:lpstr>
      <vt:lpstr>Arial</vt:lpstr>
      <vt:lpstr>Symbol</vt:lpstr>
      <vt:lpstr>Wingdings</vt:lpstr>
      <vt:lpstr>AWK breit</vt:lpstr>
      <vt:lpstr>think-cell Folie</vt:lpstr>
      <vt:lpstr>VPN-Test Azure und AWS</vt:lpstr>
      <vt:lpstr>Systemübersich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PN-Test Azure und AWS</dc:title>
  <dc:creator>Baumann, Werner</dc:creator>
  <cp:lastModifiedBy>Baumann, Werner</cp:lastModifiedBy>
  <cp:revision>2</cp:revision>
  <cp:lastPrinted>2015-09-15T14:06:58Z</cp:lastPrinted>
  <dcterms:created xsi:type="dcterms:W3CDTF">2022-01-25T08:16:19Z</dcterms:created>
  <dcterms:modified xsi:type="dcterms:W3CDTF">2022-01-25T09:2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ditor">
    <vt:lpwstr>Peter Gabriel</vt:lpwstr>
  </property>
  <property fmtid="{D5CDD505-2E9C-101B-9397-08002B2CF9AE}" pid="3" name="Group">
    <vt:lpwstr>AWK Group AG</vt:lpwstr>
  </property>
  <property fmtid="{D5CDD505-2E9C-101B-9397-08002B2CF9AE}" pid="4" name="Language">
    <vt:lpwstr>German</vt:lpwstr>
  </property>
  <property fmtid="{D5CDD505-2E9C-101B-9397-08002B2CF9AE}" pid="5" name="Status">
    <vt:lpwstr>Template</vt:lpwstr>
  </property>
  <property fmtid="{D5CDD505-2E9C-101B-9397-08002B2CF9AE}" pid="6" name="Date completed">
    <vt:filetime>2004-04-15T22:00:00Z</vt:filetime>
  </property>
</Properties>
</file>